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3"/>
  </p:sldMasterIdLst>
  <p:notesMasterIdLst>
    <p:notesMasterId r:id="rId46"/>
  </p:notesMasterIdLst>
  <p:handoutMasterIdLst>
    <p:handoutMasterId r:id="rId47"/>
  </p:handoutMasterIdLst>
  <p:sldIdLst>
    <p:sldId id="321" r:id="rId4"/>
    <p:sldId id="330" r:id="rId5"/>
    <p:sldId id="331" r:id="rId6"/>
    <p:sldId id="332" r:id="rId7"/>
    <p:sldId id="350" r:id="rId8"/>
    <p:sldId id="356" r:id="rId9"/>
    <p:sldId id="333" r:id="rId10"/>
    <p:sldId id="345" r:id="rId11"/>
    <p:sldId id="334" r:id="rId12"/>
    <p:sldId id="335" r:id="rId13"/>
    <p:sldId id="348" r:id="rId14"/>
    <p:sldId id="336" r:id="rId15"/>
    <p:sldId id="337" r:id="rId16"/>
    <p:sldId id="349" r:id="rId17"/>
    <p:sldId id="338" r:id="rId18"/>
    <p:sldId id="355" r:id="rId19"/>
    <p:sldId id="339" r:id="rId20"/>
    <p:sldId id="263" r:id="rId21"/>
    <p:sldId id="347" r:id="rId22"/>
    <p:sldId id="346" r:id="rId23"/>
    <p:sldId id="340" r:id="rId24"/>
    <p:sldId id="352" r:id="rId25"/>
    <p:sldId id="351" r:id="rId26"/>
    <p:sldId id="341" r:id="rId27"/>
    <p:sldId id="342" r:id="rId28"/>
    <p:sldId id="358" r:id="rId29"/>
    <p:sldId id="354" r:id="rId30"/>
    <p:sldId id="343" r:id="rId31"/>
    <p:sldId id="344" r:id="rId32"/>
    <p:sldId id="269" r:id="rId33"/>
    <p:sldId id="270" r:id="rId34"/>
    <p:sldId id="359" r:id="rId35"/>
    <p:sldId id="272" r:id="rId36"/>
    <p:sldId id="273" r:id="rId37"/>
    <p:sldId id="360" r:id="rId38"/>
    <p:sldId id="274" r:id="rId39"/>
    <p:sldId id="275" r:id="rId40"/>
    <p:sldId id="276" r:id="rId41"/>
    <p:sldId id="277" r:id="rId42"/>
    <p:sldId id="278" r:id="rId43"/>
    <p:sldId id="279" r:id="rId44"/>
    <p:sldId id="361" r:id="rId45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es" id="{22A221C9-5B71-4357-B92B-47EC9E1F1A43}">
          <p14:sldIdLst/>
        </p14:section>
        <p14:section name="Slide examples" id="{92C1AA63-312F-4789-8247-203676534D38}">
          <p14:sldIdLst>
            <p14:sldId id="321"/>
            <p14:sldId id="330"/>
            <p14:sldId id="331"/>
            <p14:sldId id="332"/>
            <p14:sldId id="350"/>
            <p14:sldId id="356"/>
            <p14:sldId id="333"/>
            <p14:sldId id="345"/>
            <p14:sldId id="334"/>
            <p14:sldId id="335"/>
            <p14:sldId id="348"/>
            <p14:sldId id="336"/>
            <p14:sldId id="337"/>
            <p14:sldId id="349"/>
            <p14:sldId id="338"/>
            <p14:sldId id="355"/>
            <p14:sldId id="339"/>
            <p14:sldId id="263"/>
            <p14:sldId id="347"/>
            <p14:sldId id="346"/>
            <p14:sldId id="340"/>
            <p14:sldId id="352"/>
            <p14:sldId id="351"/>
            <p14:sldId id="341"/>
            <p14:sldId id="342"/>
            <p14:sldId id="358"/>
            <p14:sldId id="354"/>
            <p14:sldId id="343"/>
            <p14:sldId id="344"/>
            <p14:sldId id="269"/>
            <p14:sldId id="270"/>
            <p14:sldId id="359"/>
            <p14:sldId id="272"/>
            <p14:sldId id="273"/>
            <p14:sldId id="360"/>
            <p14:sldId id="274"/>
            <p14:sldId id="275"/>
            <p14:sldId id="276"/>
            <p14:sldId id="277"/>
            <p14:sldId id="278"/>
            <p14:sldId id="279"/>
            <p14:sldId id="361"/>
          </p14:sldIdLst>
        </p14:section>
        <p14:section name="How-to guides" id="{940A1398-85E1-49ED-8D6E-5B86E8378269}">
          <p14:sldIdLst/>
        </p14:section>
        <p14:section name="Style guide" id="{469652BB-A032-4484-908B-5AD5FE899E0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00D6"/>
    <a:srgbClr val="9A07CB"/>
    <a:srgbClr val="0046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2819" autoAdjust="0"/>
  </p:normalViewPr>
  <p:slideViewPr>
    <p:cSldViewPr snapToGrid="0" snapToObjects="1" showGuides="1">
      <p:cViewPr varScale="1">
        <p:scale>
          <a:sx n="62" d="100"/>
          <a:sy n="62" d="100"/>
        </p:scale>
        <p:origin x="1488" y="53"/>
      </p:cViewPr>
      <p:guideLst/>
    </p:cSldViewPr>
  </p:slideViewPr>
  <p:outlineViewPr>
    <p:cViewPr>
      <p:scale>
        <a:sx n="33" d="100"/>
        <a:sy n="33" d="100"/>
      </p:scale>
      <p:origin x="0" y="-246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391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7904110-CA28-333E-2C34-1D6898DC0F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78BA21-CD2F-EE12-5978-472132E8FF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5959A-AE8E-4098-8E47-081D9FE6ACD1}" type="datetimeFigureOut">
              <a:rPr lang="en-GB" smtClean="0"/>
              <a:t>09/08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F835B-6669-0F4A-D3F6-4284B75B4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F16185-AADD-6E7A-A4FC-A558DFE03E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649B8-B442-4509-AEA1-C442A31137E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35219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8-08T06:33:55.635"/>
    </inkml:context>
    <inkml:brush xml:id="br0">
      <inkml:brushProperty name="width" value="0.035" units="cm"/>
      <inkml:brushProperty name="height" value="0.035" units="cm"/>
      <inkml:brushProperty name="ignorePressure" value="1"/>
    </inkml:brush>
  </inkml:definitions>
  <inkml:trace contextRef="#ctx0" brushRef="#br0">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82F50848-CCE2-4F33-8910-F863336B6EB2}" type="datetimeFigureOut">
              <a:rPr lang="de-CH" smtClean="0"/>
              <a:pPr/>
              <a:t>09.08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6A4FF178-7F5C-4C53-AC97-DF4205D97146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230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90493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hich recent action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r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y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Objects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(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'Folder'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THEN 'File'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'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know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Own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Folder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 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)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'Fi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UserFile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'Folder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'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Name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NULL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entObjects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o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Folder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File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 OR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Folder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;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 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 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* FROM Folder WHER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1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3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31904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File/Folder. Which have been shared to Login User</a:t>
            </a:r>
          </a:p>
          <a:p>
            <a:r>
              <a:rPr lang="en-US" dirty="0"/>
              <a:t>Sort by </a:t>
            </a:r>
            <a:r>
              <a:rPr lang="en-US" dirty="0" err="1"/>
              <a:t>FileType</a:t>
            </a:r>
            <a:endParaRPr lang="en-US" dirty="0"/>
          </a:p>
          <a:p>
            <a:r>
              <a:rPr lang="en-US" dirty="0"/>
              <a:t>Sort by Owner</a:t>
            </a:r>
          </a:p>
          <a:p>
            <a:r>
              <a:rPr lang="en-US" dirty="0"/>
              <a:t>Sort by Action Recent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een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1.SELECT shared file with login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SELECT shared folder with login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ELECT folder shared for user with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Permiss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SELECT file shared for user with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r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Share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har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har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miss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Permiss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.Permiss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Object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en-US" dirty="0"/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9377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file/folder were deleted by login u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SELECT file have been delete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704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Trash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Removed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IsPerman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;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SELECT folder have been deleted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Trash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RemovedDateti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IsPermanen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sh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jectTyp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.ObjectTyp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;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54104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</a:t>
            </a:r>
            <a:r>
              <a:rPr lang="en-US" dirty="0" err="1"/>
              <a:t>GoogleDrive’s</a:t>
            </a:r>
            <a:r>
              <a:rPr lang="en-US" dirty="0"/>
              <a:t> Products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US" dirty="0"/>
              <a:t>Select Product of login Us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1 .SELECT all of product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s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ation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2. SELECT Product bought by 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00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IsPer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*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/ 100)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Produ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o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mot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Promot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o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du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- 3 . SELECT Top 10 Payers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IsPerce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THE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* (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/ 100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SE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Co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Discount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Produ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ctItem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ro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du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.Product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otio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.Promotio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.Promotion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talCos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57349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banned user of login-user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533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r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By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At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Banned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d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Banner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er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.BannedA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;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846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18245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4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039973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817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5719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LoginUser INT = 1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UserFil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LoginUser</a:t>
            </a:r>
          </a:p>
          <a:p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in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0470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3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ld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1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.Folder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 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OMMEN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2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TOP 10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Log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tionRecen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Object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DER B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.ActionDateTim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SC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1705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User Information</a:t>
            </a:r>
          </a:p>
          <a:p>
            <a:endParaRPr lang="en-US" dirty="0"/>
          </a:p>
          <a:p>
            <a:r>
              <a:rPr lang="en-US" dirty="0"/>
              <a:t>Declare @userId int = 1</a:t>
            </a:r>
          </a:p>
          <a:p>
            <a:r>
              <a:rPr lang="en-US" dirty="0"/>
              <a:t> select </a:t>
            </a:r>
          </a:p>
          <a:p>
            <a:r>
              <a:rPr lang="en-US" dirty="0"/>
              <a:t>	</a:t>
            </a:r>
            <a:r>
              <a:rPr lang="en-US" dirty="0" err="1"/>
              <a:t>a.UserName</a:t>
            </a:r>
            <a:r>
              <a:rPr lang="en-US" dirty="0"/>
              <a:t> as </a:t>
            </a:r>
            <a:r>
              <a:rPr lang="en-US" dirty="0" err="1"/>
              <a:t>UserName</a:t>
            </a:r>
            <a:r>
              <a:rPr lang="en-US" dirty="0"/>
              <a:t>,</a:t>
            </a:r>
          </a:p>
          <a:p>
            <a:r>
              <a:rPr lang="en-US" dirty="0"/>
              <a:t>	</a:t>
            </a:r>
            <a:r>
              <a:rPr lang="en-US" dirty="0" err="1"/>
              <a:t>a.Email</a:t>
            </a:r>
            <a:r>
              <a:rPr lang="en-US" dirty="0"/>
              <a:t> as Email</a:t>
            </a:r>
          </a:p>
          <a:p>
            <a:r>
              <a:rPr lang="en-US" dirty="0"/>
              <a:t> from Account a</a:t>
            </a:r>
          </a:p>
          <a:p>
            <a:r>
              <a:rPr lang="en-US" dirty="0"/>
              <a:t> where </a:t>
            </a:r>
            <a:r>
              <a:rPr lang="en-US" dirty="0" err="1"/>
              <a:t>a.UserId</a:t>
            </a:r>
            <a:r>
              <a:rPr lang="en-US" dirty="0"/>
              <a:t> =@userId </a:t>
            </a:r>
          </a:p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84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lect Login User Setting </a:t>
            </a:r>
          </a:p>
          <a:p>
            <a:endParaRPr lang="en-US" dirty="0"/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1;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Key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Valu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ttingUser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u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Setting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.Setting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Setting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926660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ect stared file/folder of login u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LARE @userId INT = 794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LECT 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UserFile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OwnerNam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</a:t>
            </a:r>
          </a:p>
          <a:p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.FileTypeName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OM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voriteObjec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File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bjectType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2 AND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bject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Id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FT JOIN Account a 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Own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.UserI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I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Type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N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.FileType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t.FileTypeId</a:t>
            </a:r>
            <a:endParaRPr lang="vi-VN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ERE </a:t>
            </a:r>
            <a:r>
              <a:rPr lang="vi-V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.OwnerId</a:t>
            </a:r>
            <a:r>
              <a:rPr lang="vi-V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= @userId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9853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/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E7BCA-FF9A-86C4-163D-494ED3E694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55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E7BCA-FF9A-86C4-163D-494ED3E69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F14BDA87-C9C8-CD58-C9D7-0C952C1D73C0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tx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B1088E-A830-D72F-9D81-51D4D3480FB8}"/>
              </a:ext>
            </a:extLst>
          </p:cNvPr>
          <p:cNvGrpSpPr/>
          <p:nvPr userDrawn="1"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5765E41D-34F7-E790-C1FD-DC00CEE7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78FD31BA-980D-D11B-2EEB-4180204D3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48544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36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001"/>
            <a:ext cx="5232200" cy="4267788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232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12DC60-1B20-60A5-7F1D-CE4A63B8D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0587211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orient="horz" pos="1359" userDrawn="1">
          <p15:clr>
            <a:srgbClr val="FBAE40"/>
          </p15:clr>
        </p15:guide>
        <p15:guide id="22" pos="3568" userDrawn="1">
          <p15:clr>
            <a:srgbClr val="FBAE40"/>
          </p15:clr>
        </p15:guide>
        <p15:guide id="23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32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6615574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03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39D5703-BD1C-3A16-A4A7-30E0EE62B04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8285287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828655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6092407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492" userDrawn="1">
          <p15:clr>
            <a:srgbClr val="FBAE40"/>
          </p15:clr>
        </p15:guide>
        <p15:guide id="24" pos="57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ext with 1/3 image + white space fo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598" y="1098000"/>
            <a:ext cx="4064402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000"/>
            <a:ext cx="7263999" cy="426778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7263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57B48F4-BDD6-6F20-ED74-A0F80415B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81425" y="5131789"/>
            <a:ext cx="3178576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D752F1-9B09-8D70-F3E1-C60862EE4A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4385346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4848" userDrawn="1">
          <p15:clr>
            <a:srgbClr val="FBAE40"/>
          </p15:clr>
        </p15:guide>
        <p15:guide id="24" pos="51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 with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16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2157413"/>
            <a:ext cx="3928356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8" y="1530000"/>
            <a:ext cx="3928356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7C43C1D-0D5A-3546-923A-9906F73102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2355" y="2157413"/>
            <a:ext cx="3924931" cy="427037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25734A7E-A371-8589-95F1-486EF3BDC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2355" y="1530000"/>
            <a:ext cx="3924931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B5B0D54-9E65-6676-5BE0-B1EC73550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153228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9" orient="horz" pos="963" userDrawn="1">
          <p15:clr>
            <a:srgbClr val="FBAE40"/>
          </p15:clr>
        </p15:guide>
        <p15:guide id="20" pos="270" userDrawn="1">
          <p15:clr>
            <a:srgbClr val="FBAE40"/>
          </p15:clr>
        </p15:guide>
        <p15:guide id="21" orient="horz" pos="692" userDrawn="1">
          <p15:clr>
            <a:srgbClr val="FBAE40"/>
          </p15:clr>
        </p15:guide>
        <p15:guide id="22" orient="horz" pos="4049" userDrawn="1">
          <p15:clr>
            <a:srgbClr val="FBAE40"/>
          </p15:clr>
        </p15:guide>
        <p15:guide id="23" orient="horz" pos="1359" userDrawn="1">
          <p15:clr>
            <a:srgbClr val="FBAE40"/>
          </p15:clr>
        </p15:guide>
        <p15:guide id="24" pos="5490" userDrawn="1">
          <p15:clr>
            <a:srgbClr val="FBAE40"/>
          </p15:clr>
        </p15:guide>
        <p15:guide id="25" pos="5760" userDrawn="1">
          <p15:clr>
            <a:srgbClr val="FBAE40"/>
          </p15:clr>
        </p15:guide>
        <p15:guide id="26" pos="3018" userDrawn="1">
          <p15:clr>
            <a:srgbClr val="FBAE40"/>
          </p15:clr>
        </p15:guide>
        <p15:guide id="27" pos="274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63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9187" y="1528763"/>
            <a:ext cx="5232602" cy="4896000"/>
          </a:xfrm>
        </p:spPr>
        <p:txBody>
          <a:bodyPr/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7" name="Text Placeholder 38">
            <a:extLst>
              <a:ext uri="{FF2B5EF4-FFF2-40B4-BE49-F238E27FC236}">
                <a16:creationId xmlns:a16="http://schemas.microsoft.com/office/drawing/2014/main" id="{6E9374FC-ECE4-7A38-5807-87AE94A088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4001" y="4365382"/>
            <a:ext cx="4798800" cy="2062406"/>
          </a:xfrm>
          <a:solidFill>
            <a:schemeClr val="tx2">
              <a:alpha val="85000"/>
            </a:schemeClr>
          </a:solidFill>
        </p:spPr>
        <p:txBody>
          <a:bodyPr lIns="288000" tIns="288000" rIns="288000" bIns="288000" anchor="b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4" name="Text Placeholder 43">
            <a:extLst>
              <a:ext uri="{FF2B5EF4-FFF2-40B4-BE49-F238E27FC236}">
                <a16:creationId xmlns:a16="http://schemas.microsoft.com/office/drawing/2014/main" id="{38EE8FDF-DB06-4651-3389-787CA10E77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4001" y="4238556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77" name="Text Placeholder 43">
            <a:extLst>
              <a:ext uri="{FF2B5EF4-FFF2-40B4-BE49-F238E27FC236}">
                <a16:creationId xmlns:a16="http://schemas.microsoft.com/office/drawing/2014/main" id="{9A496C9E-D567-76DE-1404-D4A059685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 flipV="1">
            <a:off x="5374801" y="6292522"/>
            <a:ext cx="288000" cy="25365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98870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6" pos="3840">
          <p15:clr>
            <a:srgbClr val="FBAE40"/>
          </p15:clr>
        </p15:guide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pos="41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 with imag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944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CC190FF-DE90-AA8F-6845-8A45102A59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1944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3475239"/>
            <a:ext cx="11329789" cy="2952549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FF00CA-6EEE-1446-767F-22A63CDAED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6810939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1916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2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 slide / full-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345F9D-58D8-A03C-2C14-3C466D3CBB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68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345F9D-58D8-A03C-2C14-3C466D3C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4414B2E-C340-9140-1BD1-92410CBF7B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9765689A-1419-4CD4-170E-F5C60B6417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098000"/>
            <a:ext cx="8640000" cy="1487991"/>
          </a:xfrm>
          <a:solidFill>
            <a:schemeClr val="tx2">
              <a:alpha val="85000"/>
            </a:schemeClr>
          </a:solidFill>
        </p:spPr>
        <p:txBody>
          <a:bodyPr wrap="square" lIns="432000" tIns="432000" rIns="432000" bIns="432000" anchor="t">
            <a:sp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Text, 40pt</a:t>
            </a:r>
          </a:p>
        </p:txBody>
      </p:sp>
      <p:sp>
        <p:nvSpPr>
          <p:cNvPr id="15" name="Text Placeholder 43">
            <a:extLst>
              <a:ext uri="{FF2B5EF4-FFF2-40B4-BE49-F238E27FC236}">
                <a16:creationId xmlns:a16="http://schemas.microsoft.com/office/drawing/2014/main" id="{8E425FDA-ACD2-D989-043B-F820E6AB51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41432" y="172618"/>
            <a:ext cx="1350568" cy="68436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567951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3" pos="270" userDrawn="1">
          <p15:clr>
            <a:srgbClr val="FBAE40"/>
          </p15:clr>
        </p15:guide>
        <p15:guide id="4" pos="571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2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B1008097-4228-1AEA-6834-837AEB6C765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B8952-F9D6-8A77-2EE2-5858DB422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3481370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0" pos="270" userDrawn="1">
          <p15:clr>
            <a:srgbClr val="FBAE40"/>
          </p15:clr>
        </p15:guide>
        <p15:guide id="11" orient="horz" pos="6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4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6136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22980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6136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2980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2CF4B-8A3C-13FA-BECD-9DB01F4A6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3304646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688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8466603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6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75FA654-6B49-780A-BFB4-222C9877472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5842F8D1-C8E7-B7F7-193F-396D7F0C1F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F7ED4793-8249-B71F-2BD9-1E188E5895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01AD36-B7B0-8DA3-E4DF-7B92563C3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7187357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11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CC2D6935-038F-D464-C92D-808B5EA87C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FD410EBB-3FEB-6D5F-877D-39A60AC85B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01BDA65-4A3A-8C7F-6D57-257CEA15ED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1B83D0F-C30D-1DAC-90DB-D661B5AF3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5" name="Text Placeholder 43">
            <a:extLst>
              <a:ext uri="{FF2B5EF4-FFF2-40B4-BE49-F238E27FC236}">
                <a16:creationId xmlns:a16="http://schemas.microsoft.com/office/drawing/2014/main" id="{B90C9969-7DC5-B20D-8F4C-02AC5884CB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822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6" name="Text Placeholder 43">
            <a:extLst>
              <a:ext uri="{FF2B5EF4-FFF2-40B4-BE49-F238E27FC236}">
                <a16:creationId xmlns:a16="http://schemas.microsoft.com/office/drawing/2014/main" id="{D33D3630-A9BD-59E4-DB03-46F3F54B0B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7" name="Text Placeholder 43">
            <a:extLst>
              <a:ext uri="{FF2B5EF4-FFF2-40B4-BE49-F238E27FC236}">
                <a16:creationId xmlns:a16="http://schemas.microsoft.com/office/drawing/2014/main" id="{2A5B2A23-B287-6454-94B2-CD33371006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822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B19CB6E8-97CB-822F-3F85-A7275483C4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0847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6" name="Text Placeholder 43">
            <a:extLst>
              <a:ext uri="{FF2B5EF4-FFF2-40B4-BE49-F238E27FC236}">
                <a16:creationId xmlns:a16="http://schemas.microsoft.com/office/drawing/2014/main" id="{2EF03F68-E44D-2D1B-E3CF-23E57CD8AC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0847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F69C67C-E89D-2384-2449-3AE3B29A56D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43">
            <a:extLst>
              <a:ext uri="{FF2B5EF4-FFF2-40B4-BE49-F238E27FC236}">
                <a16:creationId xmlns:a16="http://schemas.microsoft.com/office/drawing/2014/main" id="{4675A820-B82C-20ED-4FD7-8096B1F92A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13" name="Text Placeholder 43">
            <a:extLst>
              <a:ext uri="{FF2B5EF4-FFF2-40B4-BE49-F238E27FC236}">
                <a16:creationId xmlns:a16="http://schemas.microsoft.com/office/drawing/2014/main" id="{DF422E5E-8133-BB32-C099-047DCCC1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B07921-E735-F94C-40EB-71F2AF0C4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30919109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 5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01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3">
            <a:extLst>
              <a:ext uri="{FF2B5EF4-FFF2-40B4-BE49-F238E27FC236}">
                <a16:creationId xmlns:a16="http://schemas.microsoft.com/office/drawing/2014/main" id="{05696C37-BDF4-2F3D-603C-E1844610595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E7C418BE-D8E0-8035-E432-74FD98A897B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99175D0A-6D9D-DBBC-30F3-D0FC5D29CD3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43">
            <a:extLst>
              <a:ext uri="{FF2B5EF4-FFF2-40B4-BE49-F238E27FC236}">
                <a16:creationId xmlns:a16="http://schemas.microsoft.com/office/drawing/2014/main" id="{70D8A088-B7AE-9853-F92D-69BFEFB60E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1" name="Text Placeholder 43">
            <a:extLst>
              <a:ext uri="{FF2B5EF4-FFF2-40B4-BE49-F238E27FC236}">
                <a16:creationId xmlns:a16="http://schemas.microsoft.com/office/drawing/2014/main" id="{101E0012-1AFC-2117-1AFF-131E7D68BC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535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2" name="Text Placeholder 43">
            <a:extLst>
              <a:ext uri="{FF2B5EF4-FFF2-40B4-BE49-F238E27FC236}">
                <a16:creationId xmlns:a16="http://schemas.microsoft.com/office/drawing/2014/main" id="{76B9F0EE-35D9-4F4C-DF19-6F1329686F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0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3" name="Text Placeholder 43">
            <a:extLst>
              <a:ext uri="{FF2B5EF4-FFF2-40B4-BE49-F238E27FC236}">
                <a16:creationId xmlns:a16="http://schemas.microsoft.com/office/drawing/2014/main" id="{290CBF69-D6CA-7FA4-2148-5B01F5233D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535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54" name="Picture Placeholder 3">
            <a:extLst>
              <a:ext uri="{FF2B5EF4-FFF2-40B4-BE49-F238E27FC236}">
                <a16:creationId xmlns:a16="http://schemas.microsoft.com/office/drawing/2014/main" id="{F30F8F33-E146-584B-B117-177763926F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93AD48AD-2E9D-CCFA-CC34-50B41218A9B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3CFFEEC3-C7DF-AE66-30A4-4911FF001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2746" y="3169918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57" name="Text Placeholder 43">
            <a:extLst>
              <a:ext uri="{FF2B5EF4-FFF2-40B4-BE49-F238E27FC236}">
                <a16:creationId xmlns:a16="http://schemas.microsoft.com/office/drawing/2014/main" id="{AF0EB9D8-DAFE-F2BB-AAEB-93E5A6FCF4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12746" y="3516674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1" name="Text Placeholder 43">
            <a:extLst>
              <a:ext uri="{FF2B5EF4-FFF2-40B4-BE49-F238E27FC236}">
                <a16:creationId xmlns:a16="http://schemas.microsoft.com/office/drawing/2014/main" id="{8150DEEE-F1C8-412C-9A41-9C6A1510A4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532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2" name="Text Placeholder 43">
            <a:extLst>
              <a:ext uri="{FF2B5EF4-FFF2-40B4-BE49-F238E27FC236}">
                <a16:creationId xmlns:a16="http://schemas.microsoft.com/office/drawing/2014/main" id="{C0E9FEFA-5AB3-30A2-24C9-3AC8326327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32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64" name="Text Placeholder 43">
            <a:extLst>
              <a:ext uri="{FF2B5EF4-FFF2-40B4-BE49-F238E27FC236}">
                <a16:creationId xmlns:a16="http://schemas.microsoft.com/office/drawing/2014/main" id="{7FA20DE0-E4E7-6C95-C8AA-55B9BE2AE5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54501" y="5451145"/>
            <a:ext cx="2582930" cy="276999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65" name="Text Placeholder 43">
            <a:extLst>
              <a:ext uri="{FF2B5EF4-FFF2-40B4-BE49-F238E27FC236}">
                <a16:creationId xmlns:a16="http://schemas.microsoft.com/office/drawing/2014/main" id="{BC1BB4AA-BCDE-6809-1034-93EE2784F5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4501" y="5797901"/>
            <a:ext cx="2582930" cy="630000"/>
          </a:xfrm>
        </p:spPr>
        <p:txBody>
          <a:bodyPr>
            <a:noAutofit/>
          </a:bodyPr>
          <a:lstStyle>
            <a:lvl1pPr marL="0" indent="0" algn="ctr" rtl="0">
              <a:lnSpc>
                <a:spcPct val="100000"/>
              </a:lnSpc>
              <a:spcAft>
                <a:spcPts val="3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Inform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BA4B36-92F3-CCD6-D942-4A1C8BE3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2645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2" orient="horz" pos="963" userDrawn="1">
          <p15:clr>
            <a:srgbClr val="FBAE40"/>
          </p15:clr>
        </p15:guide>
        <p15:guide id="13" pos="270" userDrawn="1">
          <p15:clr>
            <a:srgbClr val="FBAE40"/>
          </p15:clr>
        </p15:guide>
        <p15:guide id="14" orient="horz" pos="692" userDrawn="1">
          <p15:clr>
            <a:srgbClr val="FBAE40"/>
          </p15:clr>
        </p15:guide>
        <p15:guide id="15" orient="horz" pos="4049" userDrawn="1">
          <p15:clr>
            <a:srgbClr val="FBAE40"/>
          </p15:clr>
        </p15:guide>
        <p15:guide id="16" pos="740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3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2E005BC1-0A00-6A3F-9AB9-2090FB403C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5998" y="2016000"/>
            <a:ext cx="5255944" cy="301878"/>
          </a:xfrm>
        </p:spPr>
        <p:txBody>
          <a:bodyPr>
            <a:noAutofit/>
          </a:bodyPr>
          <a:lstStyle>
            <a:lvl1pPr marL="0" indent="0" rtl="0">
              <a:lnSpc>
                <a:spcPct val="120000"/>
              </a:lnSpc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5998" y="1520825"/>
            <a:ext cx="525594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EBE14B7E-1369-C17A-8857-D645DEE0EC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5998" y="2847527"/>
            <a:ext cx="5255944" cy="113966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ompany address on three lines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5998" y="4535936"/>
            <a:ext cx="5255944" cy="1891852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E503F-5E60-20CF-7913-904004C1F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547072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57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54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5AC5C679-4332-8618-78DC-64B8D168617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6400" y="1098000"/>
            <a:ext cx="3045600" cy="5760000"/>
          </a:xfrm>
          <a:blipFill>
            <a:blip r:embed="rId5"/>
            <a:stretch>
              <a:fillRect/>
            </a:stretch>
          </a:blip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44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1658" y="4876301"/>
            <a:ext cx="3920284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44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2000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1658" y="3842876"/>
            <a:ext cx="3920284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1658" y="3347701"/>
            <a:ext cx="3920284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146B3A-75B7-5620-B3DF-822D076AD0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93298722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6" pos="57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01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5A9030AA-2D09-D294-83F5-D911E619749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DF2A2FE6-E130-9A0B-843E-C9F6EEF7AD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56100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31999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1999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4D03EDE8-139D-E4AC-B2DF-0B4ABE45D5E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AFF74F02-727B-636D-E509-15BFB0DBA6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400E275A-9507-FD29-6760-794ED70D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6100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E72AEA63-EC16-F334-143C-F4F407B91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6100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FD97310F-BF77-3052-7D5F-521AE85495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813" y="4876301"/>
            <a:ext cx="3479800" cy="1551487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Email, phone, mobile &amp; web each on one lin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A03D3B0-D87F-65E2-20D2-2E3D4FC53E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AC0C46D-924E-6086-ABF8-9C7B8618C2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8813" y="3842876"/>
            <a:ext cx="3479800" cy="634276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Position on first line; company name on second lin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DE75E8A5-8070-B311-99AA-D3C4B3C392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78813" y="3347701"/>
            <a:ext cx="34798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First name Last nam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EBE829B-D1F1-110E-2A2D-99BA9886B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1071765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9" orient="horz" pos="963">
          <p15:clr>
            <a:srgbClr val="FBAE40"/>
          </p15:clr>
        </p15:guide>
        <p15:guide id="10" pos="270">
          <p15:clr>
            <a:srgbClr val="FBAE40"/>
          </p15:clr>
        </p15:guide>
        <p15:guide id="11" orient="horz" pos="692">
          <p15:clr>
            <a:srgbClr val="FBAE40"/>
          </p15:clr>
        </p15:guide>
        <p15:guide id="12" orient="horz" pos="4049">
          <p15:clr>
            <a:srgbClr val="FBAE40"/>
          </p15:clr>
        </p15:guide>
        <p15:guide id="19" pos="740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1_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497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0588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custom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0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8B174F-64CB-F020-88E2-1F63BD8A9992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24" name="Text Placeholder 43">
            <a:extLst>
              <a:ext uri="{FF2B5EF4-FFF2-40B4-BE49-F238E27FC236}">
                <a16:creationId xmlns:a16="http://schemas.microsoft.com/office/drawing/2014/main" id="{BDEA299F-CF48-A5F1-3781-1AB2A986B4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9200" y="1962000"/>
            <a:ext cx="2592000" cy="1296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 rtl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346053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815432-1626-BBCF-EDFF-4A58259064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701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815432-1626-BBCF-EDFF-4A5825906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9DC67D7-52EE-6ADA-F962-34E45323AA0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098000"/>
            <a:ext cx="6096000" cy="57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AA92BD0-3906-45A7-FD93-C56CA8C7C6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1530000"/>
            <a:ext cx="5232000" cy="4896000"/>
          </a:xfrm>
        </p:spPr>
        <p:txBody>
          <a:bodyPr anchor="t"/>
          <a:lstStyle>
            <a:lvl1pPr marL="625475" indent="-625475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ct val="130000"/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625475" indent="0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Add agenda topic, 18 pt</a:t>
            </a:r>
          </a:p>
          <a:p>
            <a:pPr lvl="1"/>
            <a:r>
              <a:rPr lang="en-GB" noProof="0"/>
              <a:t>Subtopic, 16 pt</a:t>
            </a:r>
          </a:p>
          <a:p>
            <a:pPr lvl="1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385BAD-0861-C6A4-56E2-BF176F171A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</a:t>
            </a:r>
          </a:p>
        </p:txBody>
      </p:sp>
    </p:spTree>
    <p:extLst>
      <p:ext uri="{BB962C8B-B14F-4D97-AF65-F5344CB8AC3E}">
        <p14:creationId xmlns:p14="http://schemas.microsoft.com/office/powerpoint/2010/main" val="1140928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8" orient="horz" pos="692" userDrawn="1">
          <p15:clr>
            <a:srgbClr val="FBAE40"/>
          </p15:clr>
        </p15:guide>
        <p15:guide id="9" pos="270" userDrawn="1">
          <p15:clr>
            <a:srgbClr val="FBAE40"/>
          </p15:clr>
        </p15:guide>
        <p15:guide id="10" pos="3839" userDrawn="1">
          <p15:clr>
            <a:srgbClr val="FBAE40"/>
          </p15:clr>
        </p15:guide>
        <p15:guide id="11" orient="horz" pos="4047" userDrawn="1">
          <p15:clr>
            <a:srgbClr val="FBAE40"/>
          </p15:clr>
        </p15:guide>
        <p15:guide id="12" orient="horz" pos="963" userDrawn="1">
          <p15:clr>
            <a:srgbClr val="FBAE40"/>
          </p15:clr>
        </p15:guide>
        <p15:guide id="13" pos="3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876119-2931-B4D9-CA69-9C3C8D9644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590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876119-2931-B4D9-CA69-9C3C8D9644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EC64C37-AEAB-AB56-B60A-FA7B85FC0FAA}"/>
              </a:ext>
            </a:extLst>
          </p:cNvPr>
          <p:cNvSpPr/>
          <p:nvPr userDrawn="1"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 rtl="0"/>
            <a:endParaRPr lang="en-GB" sz="1600" noProof="0">
              <a:solidFill>
                <a:schemeClr val="bg1"/>
              </a:solidFill>
            </a:endParaRP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A971CC8-DBCE-5991-27FA-298EE4BC6A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98000"/>
            <a:ext cx="12192000" cy="2160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2B9AC-C49E-CA80-7854-76D1F5F342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1999" y="5868000"/>
            <a:ext cx="11331375" cy="369332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Subtitle, 24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1D0822-52F9-BD4E-ADA5-49B7C7643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999" y="4246162"/>
            <a:ext cx="11331375" cy="1477328"/>
          </a:xfrm>
        </p:spPr>
        <p:txBody>
          <a:bodyPr vert="horz" anchor="b">
            <a:noAutofit/>
          </a:bodyPr>
          <a:lstStyle>
            <a:lvl1pPr algn="l" rtl="0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hapter title, 4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23631067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6" pos="270" userDrawn="1">
          <p15:clr>
            <a:srgbClr val="FBAE40"/>
          </p15:clr>
        </p15:guide>
        <p15:guide id="7" pos="74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1528763"/>
            <a:ext cx="11329200" cy="48990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8737973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8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2160587"/>
            <a:ext cx="113292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113292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6988610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3" orient="horz" pos="963" userDrawn="1">
          <p15:clr>
            <a:srgbClr val="FBAE40"/>
          </p15:clr>
        </p15:guide>
        <p15:guide id="14" pos="270" userDrawn="1">
          <p15:clr>
            <a:srgbClr val="FBAE40"/>
          </p15:clr>
        </p15:guide>
        <p15:guide id="15" orient="horz" pos="692" userDrawn="1">
          <p15:clr>
            <a:srgbClr val="FBAE40"/>
          </p15:clr>
        </p15:guide>
        <p15:guide id="16" orient="horz" pos="4049" userDrawn="1">
          <p15:clr>
            <a:srgbClr val="FBAE40"/>
          </p15:clr>
        </p15:guide>
        <p15:guide id="17" pos="7409" userDrawn="1">
          <p15:clr>
            <a:srgbClr val="FBAE40"/>
          </p15:clr>
        </p15:guide>
        <p15:guide id="18" orient="horz" pos="135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0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5447999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530000"/>
            <a:ext cx="5447999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00" y="2160587"/>
            <a:ext cx="5449788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2000" y="1530000"/>
            <a:ext cx="5449788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578478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5" orient="horz" pos="963" userDrawn="1">
          <p15:clr>
            <a:srgbClr val="FBAE40"/>
          </p15:clr>
        </p15:guide>
        <p15:guide id="16" pos="270" userDrawn="1">
          <p15:clr>
            <a:srgbClr val="FBAE40"/>
          </p15:clr>
        </p15:guide>
        <p15:guide id="17" orient="horz" pos="692" userDrawn="1">
          <p15:clr>
            <a:srgbClr val="FBAE40"/>
          </p15:clr>
        </p15:guide>
        <p15:guide id="18" orient="horz" pos="4049" userDrawn="1">
          <p15:clr>
            <a:srgbClr val="FBAE40"/>
          </p15:clr>
        </p15:guide>
        <p15:guide id="19" pos="7409" userDrawn="1">
          <p15:clr>
            <a:srgbClr val="FBAE40"/>
          </p15:clr>
        </p15:guide>
        <p15:guide id="20" orient="horz" pos="1359" userDrawn="1">
          <p15:clr>
            <a:srgbClr val="FBAE40"/>
          </p15:clr>
        </p15:guide>
        <p15:guide id="21" pos="3974" userDrawn="1">
          <p15:clr>
            <a:srgbClr val="FBAE40"/>
          </p15:clr>
        </p15:guide>
        <p15:guide id="22" pos="370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82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B191B24-6C4A-7D73-6A24-504B6A01E9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98978999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7" orient="horz" pos="963" userDrawn="1">
          <p15:clr>
            <a:srgbClr val="FBAE40"/>
          </p15:clr>
        </p15:guide>
        <p15:guide id="18" pos="270" userDrawn="1">
          <p15:clr>
            <a:srgbClr val="FBAE40"/>
          </p15:clr>
        </p15:guide>
        <p15:guide id="19" orient="horz" pos="692" userDrawn="1">
          <p15:clr>
            <a:srgbClr val="FBAE40"/>
          </p15:clr>
        </p15:guide>
        <p15:guide id="20" orient="horz" pos="4049" userDrawn="1">
          <p15:clr>
            <a:srgbClr val="FBAE40"/>
          </p15:clr>
        </p15:guide>
        <p15:guide id="21" pos="7409" userDrawn="1">
          <p15:clr>
            <a:srgbClr val="FBAE40"/>
          </p15:clr>
        </p15:guide>
        <p15:guide id="22" orient="horz" pos="1359" userDrawn="1">
          <p15:clr>
            <a:srgbClr val="FBAE40"/>
          </p15:clr>
        </p15:guide>
        <p15:guide id="23" pos="5210" userDrawn="1">
          <p15:clr>
            <a:srgbClr val="FBAE40"/>
          </p15:clr>
        </p15:guide>
        <p15:guide id="24" pos="4940" userDrawn="1">
          <p15:clr>
            <a:srgbClr val="FBAE40"/>
          </p15:clr>
        </p15:guide>
        <p15:guide id="25" pos="2740" userDrawn="1">
          <p15:clr>
            <a:srgbClr val="FBAE40"/>
          </p15:clr>
        </p15:guide>
        <p15:guide id="26" pos="247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75058B-0DA5-BCC2-2884-A3AA6637B8D8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0078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6" imgH="306" progId="TCLayout.ActiveDocument.1">
                  <p:embed/>
                </p:oleObj>
              </mc:Choice>
              <mc:Fallback>
                <p:oleObj name="think-cell Slide" r:id="rId30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75058B-0DA5-BCC2-2884-A3AA6637B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2B6DD6-B6DA-4A3B-AA01-32E0D7927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GB" noProof="0" dirty="0"/>
              <a:t>Title, 28pt, </a:t>
            </a:r>
            <a:br>
              <a:rPr lang="en-GB" noProof="0" dirty="0"/>
            </a:br>
            <a:r>
              <a:rPr lang="en-GB" noProof="0" dirty="0"/>
              <a:t>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9B469-A741-AADC-88BD-759DB5D44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D0CF3-0723-425A-205C-484322D633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rtl="0">
              <a:defRPr sz="1000">
                <a:solidFill>
                  <a:schemeClr val="bg2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331C2-6712-205D-6768-F1C229CF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rtl="0">
              <a:defRPr sz="1000">
                <a:solidFill>
                  <a:schemeClr val="bg2"/>
                </a:solidFill>
              </a:defRPr>
            </a:lvl1pPr>
          </a:lstStyle>
          <a:p>
            <a:fld id="{97B27895-1833-42C6-927E-7C9AD7EEEA9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85608BD-05B9-34D2-34A7-A5AF7917B1E7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1021614" y="352800"/>
            <a:ext cx="738385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7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706" r:id="rId5"/>
    <p:sldLayoutId id="2147483709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7" r:id="rId24"/>
    <p:sldLayoutId id="2147483708" r:id="rId25"/>
    <p:sldLayoutId id="2147483710" r:id="rId26"/>
    <p:sldLayoutId id="2147483711" r:id="rId27"/>
  </p:sldLayoutIdLst>
  <p:transition spd="slow">
    <p:push dir="u"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0.png"/><Relationship Id="rId4" Type="http://schemas.openxmlformats.org/officeDocument/2006/relationships/customXml" Target="../ink/ink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1366284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3EE307-C082-A4D1-35E2-B05C73795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90A111-932F-BAF6-14DA-33CE968BDA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843" y="1198683"/>
            <a:ext cx="10141975" cy="5070988"/>
          </a:xfrm>
          <a:prstGeom prst="rect">
            <a:avLst/>
          </a:prstGeom>
        </p:spPr>
      </p:pic>
      <p:sp>
        <p:nvSpPr>
          <p:cNvPr id="7" name="Frame 6">
            <a:extLst>
              <a:ext uri="{FF2B5EF4-FFF2-40B4-BE49-F238E27FC236}">
                <a16:creationId xmlns:a16="http://schemas.microsoft.com/office/drawing/2014/main" id="{46E49583-7245-E16A-3EFD-C5B60AC0E89C}"/>
              </a:ext>
            </a:extLst>
          </p:cNvPr>
          <p:cNvSpPr/>
          <p:nvPr/>
        </p:nvSpPr>
        <p:spPr>
          <a:xfrm>
            <a:off x="2563140" y="2406404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02DCDBEB-3C70-4F38-94C9-B50EFE2BB8E5}"/>
              </a:ext>
            </a:extLst>
          </p:cNvPr>
          <p:cNvSpPr/>
          <p:nvPr/>
        </p:nvSpPr>
        <p:spPr>
          <a:xfrm>
            <a:off x="2541329" y="2913163"/>
            <a:ext cx="973393" cy="255638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89ACC0-391E-9A2B-4C6A-0B42F714765E}"/>
              </a:ext>
            </a:extLst>
          </p:cNvPr>
          <p:cNvSpPr/>
          <p:nvPr/>
        </p:nvSpPr>
        <p:spPr>
          <a:xfrm>
            <a:off x="346588" y="2389238"/>
            <a:ext cx="1681316" cy="41834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key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983EB01-1ECD-B396-2C19-F5ED780A990F}"/>
              </a:ext>
            </a:extLst>
          </p:cNvPr>
          <p:cNvSpPr/>
          <p:nvPr/>
        </p:nvSpPr>
        <p:spPr>
          <a:xfrm>
            <a:off x="294348" y="3278681"/>
            <a:ext cx="1681316" cy="418345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ettingvalu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4259152-523B-8717-E7FB-9C3911520B9F}"/>
              </a:ext>
            </a:extLst>
          </p:cNvPr>
          <p:cNvCxnSpPr/>
          <p:nvPr/>
        </p:nvCxnSpPr>
        <p:spPr>
          <a:xfrm flipV="1">
            <a:off x="2098257" y="2459933"/>
            <a:ext cx="364414" cy="27530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C3947D8-B1F5-1A47-3775-2948B912F81D}"/>
              </a:ext>
            </a:extLst>
          </p:cNvPr>
          <p:cNvCxnSpPr/>
          <p:nvPr/>
        </p:nvCxnSpPr>
        <p:spPr>
          <a:xfrm flipV="1">
            <a:off x="2098257" y="3040982"/>
            <a:ext cx="364414" cy="55651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FB9A4BA-65AA-D0C8-1920-8452A761B0E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0" cy="541549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F51530E-2DD9-CEAE-5D9E-3253945BD987}"/>
              </a:ext>
            </a:extLst>
          </p:cNvPr>
          <p:cNvCxnSpPr>
            <a:cxnSpLocks/>
          </p:cNvCxnSpPr>
          <p:nvPr/>
        </p:nvCxnSpPr>
        <p:spPr>
          <a:xfrm>
            <a:off x="2408903" y="1011116"/>
            <a:ext cx="414398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35A4643-5BAD-4052-CA9B-8C96AE8FD7EF}"/>
              </a:ext>
            </a:extLst>
          </p:cNvPr>
          <p:cNvCxnSpPr>
            <a:cxnSpLocks/>
          </p:cNvCxnSpPr>
          <p:nvPr/>
        </p:nvCxnSpPr>
        <p:spPr>
          <a:xfrm>
            <a:off x="6552889" y="1011116"/>
            <a:ext cx="0" cy="5415494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52E85EF-E692-A03C-8564-EA277E4C9FC5}"/>
              </a:ext>
            </a:extLst>
          </p:cNvPr>
          <p:cNvCxnSpPr>
            <a:cxnSpLocks/>
          </p:cNvCxnSpPr>
          <p:nvPr/>
        </p:nvCxnSpPr>
        <p:spPr>
          <a:xfrm>
            <a:off x="2408903" y="6442588"/>
            <a:ext cx="413477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4EE6933F-2E54-1CEE-008F-E4EFC8B79EA4}"/>
              </a:ext>
            </a:extLst>
          </p:cNvPr>
          <p:cNvSpPr/>
          <p:nvPr/>
        </p:nvSpPr>
        <p:spPr>
          <a:xfrm>
            <a:off x="7010399" y="432619"/>
            <a:ext cx="2637693" cy="46088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 of login Account 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8DF44D4-026B-0070-90E8-6597A464A9DC}"/>
              </a:ext>
            </a:extLst>
          </p:cNvPr>
          <p:cNvCxnSpPr/>
          <p:nvPr/>
        </p:nvCxnSpPr>
        <p:spPr>
          <a:xfrm flipH="1">
            <a:off x="6676103" y="816077"/>
            <a:ext cx="334296" cy="109138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4258788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82A036-BDD0-53E6-E9C7-3A5C289C0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8B6031-3FFD-1741-4633-CC01938DEB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765" y="1010092"/>
            <a:ext cx="9719999" cy="554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128711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3CFC91-9DE0-2252-A67C-5907CC7B3F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Sample Data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6CC2CF-E30F-ED2F-A04C-0E97BE386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152" y="903248"/>
            <a:ext cx="8573696" cy="579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1336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EF7AE5-B2E0-8F0C-0F54-54ED52C3D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882475-5F2B-98B7-DBC8-5E58D6464A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077" y="831892"/>
            <a:ext cx="10843846" cy="519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899616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A337B39-8BF4-DAA4-B5C3-8DAB9D3C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FavoriteObje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6D1F22-8AD6-6F12-FBB6-71D084EC7C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536" y="1371576"/>
            <a:ext cx="8462927" cy="411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88424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E0F8ADB-540E-D5F5-24A7-7DDAF10B3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action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622598-B8B4-55AD-7AD5-5AE3D354F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000" y="1098000"/>
            <a:ext cx="10151999" cy="5007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80101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E7B5CF3-1218-505F-5466-E99209A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r>
              <a:rPr lang="en-US" dirty="0" err="1"/>
              <a:t>ActionRecent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B2B7ED-0732-D7D5-8C63-33E23FE40B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2824" y="2052333"/>
            <a:ext cx="9186351" cy="275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935910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8A7767-AAE9-1A93-E592-493B51745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 for login user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61CDC5-D12B-4F11-E8E7-4986A488F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923" y="904569"/>
            <a:ext cx="10018154" cy="550774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C8A563E-6DA3-4E25-2D3A-577A05E9EBD6}"/>
              </a:ext>
            </a:extLst>
          </p:cNvPr>
          <p:cNvSpPr/>
          <p:nvPr/>
        </p:nvSpPr>
        <p:spPr>
          <a:xfrm>
            <a:off x="4724400" y="2136530"/>
            <a:ext cx="2368062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</a:t>
            </a:r>
            <a:r>
              <a:rPr lang="en-US" dirty="0" err="1">
                <a:solidFill>
                  <a:schemeClr val="bg1"/>
                </a:solidFill>
              </a:rPr>
              <a:t>ActionRecent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1EF22B-5F08-12F7-A06F-9750961DE344}"/>
              </a:ext>
            </a:extLst>
          </p:cNvPr>
          <p:cNvSpPr/>
          <p:nvPr/>
        </p:nvSpPr>
        <p:spPr>
          <a:xfrm>
            <a:off x="5099537" y="1211261"/>
            <a:ext cx="1664677" cy="345831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Own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AE48F2-EFED-B109-134E-7E9AB3C56014}"/>
              </a:ext>
            </a:extLst>
          </p:cNvPr>
          <p:cNvSpPr/>
          <p:nvPr/>
        </p:nvSpPr>
        <p:spPr>
          <a:xfrm>
            <a:off x="4107968" y="459092"/>
            <a:ext cx="1988031" cy="293077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ort by Filetyp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83AB5A6-3A08-E7CD-4A0A-36991A8259FD}"/>
              </a:ext>
            </a:extLst>
          </p:cNvPr>
          <p:cNvCxnSpPr/>
          <p:nvPr/>
        </p:nvCxnSpPr>
        <p:spPr>
          <a:xfrm flipH="1">
            <a:off x="2930769" y="752169"/>
            <a:ext cx="1652954" cy="80492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3487CB4-187A-86E3-0B68-709A6DC07B66}"/>
              </a:ext>
            </a:extLst>
          </p:cNvPr>
          <p:cNvCxnSpPr/>
          <p:nvPr/>
        </p:nvCxnSpPr>
        <p:spPr>
          <a:xfrm flipH="1">
            <a:off x="3470031" y="1211261"/>
            <a:ext cx="1629506" cy="4416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65A5C93-65CC-5EAA-8247-12CE91C63CEF}"/>
              </a:ext>
            </a:extLst>
          </p:cNvPr>
          <p:cNvCxnSpPr/>
          <p:nvPr/>
        </p:nvCxnSpPr>
        <p:spPr>
          <a:xfrm flipH="1" flipV="1">
            <a:off x="4384431" y="1899138"/>
            <a:ext cx="339969" cy="41030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5425884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BFDC76-B99A-5F71-E2CA-BD5552A4E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1069" y="916683"/>
            <a:ext cx="9903388" cy="58075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06A0F14-3BFB-6931-CB78-28D32791B072}"/>
              </a:ext>
            </a:extLst>
          </p:cNvPr>
          <p:cNvSpPr/>
          <p:nvPr/>
        </p:nvSpPr>
        <p:spPr>
          <a:xfrm>
            <a:off x="8106937" y="2430966"/>
            <a:ext cx="836341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hare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95BBAF-2388-5B54-BFCB-7F5CBB7BCBC6}"/>
              </a:ext>
            </a:extLst>
          </p:cNvPr>
          <p:cNvSpPr/>
          <p:nvPr/>
        </p:nvSpPr>
        <p:spPr>
          <a:xfrm>
            <a:off x="8028879" y="4014439"/>
            <a:ext cx="1349298" cy="41259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Permiss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A3A0278-3DC7-4C9A-8AC5-1D0B0CFE0CFF}"/>
              </a:ext>
            </a:extLst>
          </p:cNvPr>
          <p:cNvCxnSpPr>
            <a:stCxn id="5" idx="1"/>
          </p:cNvCxnSpPr>
          <p:nvPr/>
        </p:nvCxnSpPr>
        <p:spPr>
          <a:xfrm flipH="1">
            <a:off x="7304049" y="4220737"/>
            <a:ext cx="724830" cy="158904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2362333-DAC4-EC58-6F9F-B764BF4EB66C}"/>
              </a:ext>
            </a:extLst>
          </p:cNvPr>
          <p:cNvCxnSpPr/>
          <p:nvPr/>
        </p:nvCxnSpPr>
        <p:spPr>
          <a:xfrm flipH="1">
            <a:off x="5965902" y="2732049"/>
            <a:ext cx="2141035" cy="61331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9B798A-05A9-35BC-C734-6894F1F26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749929-80D9-E092-B5B4-469736588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2263" y="907881"/>
            <a:ext cx="9167473" cy="595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322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818451F-DE2B-B8D1-E7DA-DF54F2094E8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2" b="32292"/>
          <a:stretch>
            <a:fillRect/>
          </a:stretch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63DC8AC8-3EE6-0346-C3D1-617A95A52B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bbv Software Services AG  |  </a:t>
            </a:r>
            <a:r>
              <a:rPr lang="en-CH" dirty="0"/>
              <a:t>Dat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4A268C-5455-5620-C433-3CCEA88828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vi-VN" dirty="0"/>
              <a:t>Ypp 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57092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61097A2-34BA-4D2D-7C6E-1438E4C96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ha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9D0DCE-F2F2-3638-7EDA-4AF1832D5C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888" y="932034"/>
            <a:ext cx="9126224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1783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D569F5-F752-78D2-7DEA-647D756EF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sh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B80471-BF24-9F80-8C2E-65EB1150A2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954" y="906374"/>
            <a:ext cx="10410091" cy="551746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AB9DD77-5621-D63C-A2EA-7A9606972D82}"/>
              </a:ext>
            </a:extLst>
          </p:cNvPr>
          <p:cNvSpPr/>
          <p:nvPr/>
        </p:nvSpPr>
        <p:spPr>
          <a:xfrm>
            <a:off x="6963508" y="226436"/>
            <a:ext cx="3493478" cy="750277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ere delet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A91F52B-1CA3-0377-477A-32A7B398E3B6}"/>
              </a:ext>
            </a:extLst>
          </p:cNvPr>
          <p:cNvCxnSpPr/>
          <p:nvPr/>
        </p:nvCxnSpPr>
        <p:spPr>
          <a:xfrm flipH="1">
            <a:off x="6670431" y="976713"/>
            <a:ext cx="1664677" cy="177821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2828397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FCB56E2-CF3A-3EC2-9556-571C06AFF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478974-9A8D-BAF6-E0FF-B1EBAE9701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601" y="1098000"/>
            <a:ext cx="10440798" cy="556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022136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A8DD7E-EBBA-249F-C361-4A450B2BB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Trash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24413E-6733-CCD3-277E-531FFA4499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561" y="2001643"/>
            <a:ext cx="8712878" cy="285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60143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6E50C7-1161-3FE9-1286-E09BD3F03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Capacity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03B50E-18B4-ACB4-60AE-5014CEA352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000" y="1008186"/>
            <a:ext cx="9720000" cy="550057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F0F04B-3C17-AB5C-220F-7835489917C2}"/>
              </a:ext>
            </a:extLst>
          </p:cNvPr>
          <p:cNvSpPr/>
          <p:nvPr/>
        </p:nvSpPr>
        <p:spPr>
          <a:xfrm>
            <a:off x="5099539" y="211015"/>
            <a:ext cx="2872154" cy="527539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Select login User capacity and </a:t>
            </a:r>
            <a:r>
              <a:rPr lang="en-US" dirty="0" err="1"/>
              <a:t>UsedCapacity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583529E-B3CF-858C-E6E4-E42401DDD9AE}"/>
              </a:ext>
            </a:extLst>
          </p:cNvPr>
          <p:cNvCxnSpPr/>
          <p:nvPr/>
        </p:nvCxnSpPr>
        <p:spPr>
          <a:xfrm flipH="1">
            <a:off x="3903785" y="738554"/>
            <a:ext cx="1992923" cy="138332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ame 9">
            <a:extLst>
              <a:ext uri="{FF2B5EF4-FFF2-40B4-BE49-F238E27FC236}">
                <a16:creationId xmlns:a16="http://schemas.microsoft.com/office/drawing/2014/main" id="{1EE8E7C4-ED16-3993-9424-2E3E87B804FB}"/>
              </a:ext>
            </a:extLst>
          </p:cNvPr>
          <p:cNvSpPr/>
          <p:nvPr/>
        </p:nvSpPr>
        <p:spPr>
          <a:xfrm>
            <a:off x="2631688" y="3133493"/>
            <a:ext cx="8324312" cy="568712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48C124-B2BB-10A9-AFA1-CEE8986820D1}"/>
              </a:ext>
            </a:extLst>
          </p:cNvPr>
          <p:cNvSpPr/>
          <p:nvPr/>
        </p:nvSpPr>
        <p:spPr>
          <a:xfrm>
            <a:off x="7683190" y="1628078"/>
            <a:ext cx="2096430" cy="478108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18AC4D-E79E-0F13-3A7D-D48DFB7F21B5}"/>
              </a:ext>
            </a:extLst>
          </p:cNvPr>
          <p:cNvCxnSpPr/>
          <p:nvPr/>
        </p:nvCxnSpPr>
        <p:spPr>
          <a:xfrm flipH="1">
            <a:off x="7817005" y="2121877"/>
            <a:ext cx="579863" cy="91125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865374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4EFB4F-60D6-1105-F0B3-82C38B4EC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serProduct</a:t>
            </a:r>
            <a:endParaRPr lang="vi-VN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4FF209-A2E8-A3D6-D643-B938C6FDB8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9741" y="975580"/>
            <a:ext cx="8950825" cy="56205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277DA68-BF8B-BBC6-5694-8E2057F818A1}"/>
              </a:ext>
            </a:extLst>
          </p:cNvPr>
          <p:cNvSpPr/>
          <p:nvPr/>
        </p:nvSpPr>
        <p:spPr>
          <a:xfrm>
            <a:off x="2353817" y="1671973"/>
            <a:ext cx="7662672" cy="49241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0B2C51-D745-2658-ED99-7843062B9B0C}"/>
              </a:ext>
            </a:extLst>
          </p:cNvPr>
          <p:cNvSpPr/>
          <p:nvPr/>
        </p:nvSpPr>
        <p:spPr>
          <a:xfrm>
            <a:off x="4142232" y="1098000"/>
            <a:ext cx="4169664" cy="57397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51A0C8-C7DA-6EAF-7AD3-4C430ACA181C}"/>
              </a:ext>
            </a:extLst>
          </p:cNvPr>
          <p:cNvSpPr txBox="1"/>
          <p:nvPr/>
        </p:nvSpPr>
        <p:spPr>
          <a:xfrm>
            <a:off x="1191232" y="975580"/>
            <a:ext cx="2492814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duct Item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4E6DD8-D912-F347-CE3B-D4FA0C629B73}"/>
              </a:ext>
            </a:extLst>
          </p:cNvPr>
          <p:cNvSpPr txBox="1"/>
          <p:nvPr/>
        </p:nvSpPr>
        <p:spPr>
          <a:xfrm>
            <a:off x="54894" y="1659778"/>
            <a:ext cx="2346393" cy="646331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</a:t>
            </a:r>
            <a:r>
              <a:rPr lang="en-US" dirty="0" err="1"/>
              <a:t>GoogleDrive’s</a:t>
            </a:r>
            <a:r>
              <a:rPr lang="en-US" dirty="0"/>
              <a:t> Produc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975EEC-BA86-711F-E41E-8B9532ABB7DC}"/>
              </a:ext>
            </a:extLst>
          </p:cNvPr>
          <p:cNvSpPr txBox="1"/>
          <p:nvPr/>
        </p:nvSpPr>
        <p:spPr>
          <a:xfrm>
            <a:off x="8654796" y="1158169"/>
            <a:ext cx="3028078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Product of login Us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E1BED0-13C0-9D22-DA08-624701A228EA}"/>
              </a:ext>
            </a:extLst>
          </p:cNvPr>
          <p:cNvSpPr txBox="1"/>
          <p:nvPr/>
        </p:nvSpPr>
        <p:spPr>
          <a:xfrm>
            <a:off x="409575" y="3858849"/>
            <a:ext cx="666750" cy="307777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16FFF6-3682-FE93-D5D6-4591F579FAE7}"/>
              </a:ext>
            </a:extLst>
          </p:cNvPr>
          <p:cNvSpPr txBox="1"/>
          <p:nvPr/>
        </p:nvSpPr>
        <p:spPr>
          <a:xfrm>
            <a:off x="245618" y="2999151"/>
            <a:ext cx="1341643" cy="369332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motion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923B661-750B-58A8-D82C-45F55DDF7CD6}"/>
              </a:ext>
            </a:extLst>
          </p:cNvPr>
          <p:cNvCxnSpPr/>
          <p:nvPr/>
        </p:nvCxnSpPr>
        <p:spPr>
          <a:xfrm>
            <a:off x="1709741" y="3267307"/>
            <a:ext cx="1501810" cy="16169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B10354-B828-F178-2897-084C9B3D6F54}"/>
              </a:ext>
            </a:extLst>
          </p:cNvPr>
          <p:cNvCxnSpPr/>
          <p:nvPr/>
        </p:nvCxnSpPr>
        <p:spPr>
          <a:xfrm>
            <a:off x="1191232" y="4012737"/>
            <a:ext cx="1853051" cy="32508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0BAF5F5-69D7-B705-57F8-ED25E61A3F56}"/>
              </a:ext>
            </a:extLst>
          </p:cNvPr>
          <p:cNvCxnSpPr/>
          <p:nvPr/>
        </p:nvCxnSpPr>
        <p:spPr>
          <a:xfrm>
            <a:off x="1416205" y="2306109"/>
            <a:ext cx="937612" cy="6930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1FE7A7A-2395-DB12-6232-AE2DCFD22E10}"/>
              </a:ext>
            </a:extLst>
          </p:cNvPr>
          <p:cNvCxnSpPr/>
          <p:nvPr/>
        </p:nvCxnSpPr>
        <p:spPr>
          <a:xfrm>
            <a:off x="2732049" y="1384986"/>
            <a:ext cx="780585" cy="142512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1047682-C7B7-C82D-4F49-966EB092DEEB}"/>
              </a:ext>
            </a:extLst>
          </p:cNvPr>
          <p:cNvCxnSpPr/>
          <p:nvPr/>
        </p:nvCxnSpPr>
        <p:spPr>
          <a:xfrm flipH="1">
            <a:off x="7025268" y="1465946"/>
            <a:ext cx="2330605" cy="63160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36A2D5B-4CD6-276D-2568-EA320AD277F3}"/>
              </a:ext>
            </a:extLst>
          </p:cNvPr>
          <p:cNvSpPr/>
          <p:nvPr/>
        </p:nvSpPr>
        <p:spPr>
          <a:xfrm>
            <a:off x="4404732" y="323385"/>
            <a:ext cx="2364058" cy="501805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Duration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2068F64-1ECC-E23B-93A5-F19BBE113A19}"/>
              </a:ext>
            </a:extLst>
          </p:cNvPr>
          <p:cNvCxnSpPr/>
          <p:nvPr/>
        </p:nvCxnSpPr>
        <p:spPr>
          <a:xfrm>
            <a:off x="5843239" y="825190"/>
            <a:ext cx="252761" cy="332979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509343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DE3DDF-3267-09C0-76D6-7D3684787F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26CFFC-DAC8-624C-7010-150617181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A7C7CD-10D0-B9DC-6081-7444A1AB6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601" y="1098000"/>
            <a:ext cx="10440798" cy="556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391143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5ED0F5-7832-524E-6CB6-5D460DC17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Produc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859E4-949D-60FC-62F6-813892C136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5318" y="1243583"/>
            <a:ext cx="8961364" cy="437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524914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9066C1-00EE-6081-87E5-02C276E44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nned</a:t>
            </a:r>
            <a:endParaRPr lang="vi-V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8F3EAC-D68F-505D-586E-F82236B732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3756" y="947853"/>
            <a:ext cx="8424487" cy="578258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E8A146-5090-FB62-ABEC-900CD8082E90}"/>
              </a:ext>
            </a:extLst>
          </p:cNvPr>
          <p:cNvSpPr txBox="1"/>
          <p:nvPr/>
        </p:nvSpPr>
        <p:spPr>
          <a:xfrm>
            <a:off x="2542924" y="686243"/>
            <a:ext cx="2675847" cy="646331"/>
          </a:xfrm>
          <a:prstGeom prst="rect">
            <a:avLst/>
          </a:prstGeom>
          <a:solidFill>
            <a:srgbClr val="3374A9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User have been Banned by login user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2162C56-7C2F-E41A-CFF7-2F0636E10244}"/>
              </a:ext>
            </a:extLst>
          </p:cNvPr>
          <p:cNvCxnSpPr/>
          <p:nvPr/>
        </p:nvCxnSpPr>
        <p:spPr>
          <a:xfrm>
            <a:off x="4137102" y="1332574"/>
            <a:ext cx="1081669" cy="425418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988255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3E887E9-70C3-2C1B-C969-ABFB059B6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Banned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98DB78-18BC-F107-0C53-8A7DCF7A0B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263" y="1666628"/>
            <a:ext cx="8795473" cy="360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96059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561E403-33F7-B94A-DE82-295AC6F21A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5" r="15853"/>
          <a:stretch/>
        </p:blipFill>
        <p:spPr>
          <a:xfrm>
            <a:off x="6096000" y="1098000"/>
            <a:ext cx="6096000" cy="5760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E50F8-6089-8B05-8B3F-8F26994E4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343608"/>
            <a:ext cx="5232000" cy="5082392"/>
          </a:xfrm>
        </p:spPr>
        <p:txBody>
          <a:bodyPr/>
          <a:lstStyle/>
          <a:p>
            <a:pPr lvl="0" indent="-676275">
              <a:spcBef>
                <a:spcPts val="0"/>
              </a:spcBef>
              <a:buSzPts val="3140"/>
              <a:buFont typeface="Arial"/>
              <a:buAutoNum type="arabicPeriod"/>
            </a:pPr>
            <a:r>
              <a:rPr lang="en-US" dirty="0"/>
              <a:t>Google Drive functions and database design as follow</a:t>
            </a:r>
          </a:p>
          <a:p>
            <a:pPr lvl="1"/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 err="1"/>
              <a:t>Fulltext</a:t>
            </a:r>
            <a:r>
              <a:rPr lang="en-GB" dirty="0"/>
              <a:t> Search with BM25</a:t>
            </a:r>
          </a:p>
          <a:p>
            <a:pPr lvl="0" indent="-676275">
              <a:buSzPts val="3140"/>
              <a:buFont typeface="Arial"/>
              <a:buAutoNum type="arabicPeriod"/>
            </a:pPr>
            <a:endParaRPr lang="en-GB" dirty="0"/>
          </a:p>
          <a:p>
            <a:pPr lvl="0" indent="-676275">
              <a:buSzPts val="3140"/>
              <a:buFont typeface="Arial"/>
              <a:buAutoNum type="arabicPeriod"/>
            </a:pPr>
            <a:r>
              <a:rPr lang="en-GB" dirty="0"/>
              <a:t>Q&amp;A</a:t>
            </a:r>
          </a:p>
          <a:p>
            <a:pPr lvl="1"/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823D42-BBCC-FF67-3367-1A97BAB8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59810489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Resolve permission problem</a:t>
            </a:r>
            <a:endParaRPr dirty="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in</a:t>
            </a:r>
            <a:endParaRPr dirty="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Google Drive</a:t>
            </a:r>
            <a:endParaRPr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E0872A-BBAE-61BA-2EAB-CEC71417F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84F66A-E228-4B6C-1134-1682A6618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Sha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82D9F5-8E5C-0422-69FC-455FB47CB7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888" y="932034"/>
            <a:ext cx="9126224" cy="53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5090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dirty="0"/>
              <a:t>How to score in BM25 ?</a:t>
            </a:r>
            <a:endParaRPr dirty="0"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 dirty="0"/>
              <a:t>WHAT IS BM25 ?</a:t>
            </a:r>
            <a:endParaRPr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634E14-6507-B285-ECCD-00EC3A7282F1}"/>
              </a:ext>
            </a:extLst>
          </p:cNvPr>
          <p:cNvSpPr txBox="1"/>
          <p:nvPr/>
        </p:nvSpPr>
        <p:spPr>
          <a:xfrm>
            <a:off x="635000" y="4229100"/>
            <a:ext cx="11049000" cy="1967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N is total number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n(qi) is the number of documents containing qi </a:t>
            </a:r>
            <a:r>
              <a:rPr lang="en-US" sz="2800" dirty="0" err="1">
                <a:solidFill>
                  <a:schemeClr val="bg2"/>
                </a:solidFill>
              </a:rPr>
              <a:t>a.k.a</a:t>
            </a:r>
            <a:r>
              <a:rPr lang="en-US" sz="2800" dirty="0">
                <a:solidFill>
                  <a:schemeClr val="bg2"/>
                </a:solidFill>
              </a:rPr>
              <a:t> </a:t>
            </a:r>
            <a:r>
              <a:rPr lang="en-US" sz="2800" dirty="0" err="1">
                <a:solidFill>
                  <a:schemeClr val="bg2"/>
                </a:solidFill>
              </a:rPr>
              <a:t>df</a:t>
            </a:r>
            <a:endParaRPr lang="en-US" sz="2800" dirty="0">
              <a:solidFill>
                <a:schemeClr val="bg2"/>
              </a:solidFill>
            </a:endParaRPr>
          </a:p>
          <a:p>
            <a:pPr lvl="0">
              <a:lnSpc>
                <a:spcPct val="115000"/>
              </a:lnSpc>
            </a:pPr>
            <a:r>
              <a:rPr lang="en-US" sz="2800" dirty="0">
                <a:solidFill>
                  <a:schemeClr val="bg2"/>
                </a:solidFill>
              </a:rPr>
              <a:t>|D| : Length of document</a:t>
            </a:r>
          </a:p>
          <a:p>
            <a:pPr lvl="0">
              <a:lnSpc>
                <a:spcPct val="115000"/>
              </a:lnSpc>
            </a:pPr>
            <a:r>
              <a:rPr lang="en-US" sz="2800" dirty="0" err="1">
                <a:solidFill>
                  <a:schemeClr val="bg2"/>
                </a:solidFill>
              </a:rPr>
              <a:t>avgdl</a:t>
            </a:r>
            <a:r>
              <a:rPr lang="en-US" sz="2800" dirty="0">
                <a:solidFill>
                  <a:schemeClr val="bg2"/>
                </a:solidFill>
              </a:rPr>
              <a:t> : Average document length in the collection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7B6AF0C-0137-3780-F446-858BE06BD587}"/>
              </a:ext>
            </a:extLst>
          </p:cNvPr>
          <p:cNvSpPr txBox="1"/>
          <p:nvPr/>
        </p:nvSpPr>
        <p:spPr>
          <a:xfrm>
            <a:off x="406400" y="1866900"/>
            <a:ext cx="113792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k_1</a:t>
            </a:r>
            <a:r>
              <a:rPr lang="en-US" sz="3000" dirty="0">
                <a:solidFill>
                  <a:schemeClr val="bg2"/>
                </a:solidFill>
              </a:rPr>
              <a:t>: A parameter (typically 1.2 to 2.0) controlling the impact of term frequency. Higher values allow more influence from frequent terms.</a:t>
            </a:r>
          </a:p>
          <a:p>
            <a:pPr lvl="0">
              <a:buSzPts val="2400"/>
            </a:pPr>
            <a:r>
              <a:rPr lang="en-US" sz="3000" b="1" dirty="0">
                <a:solidFill>
                  <a:schemeClr val="bg2"/>
                </a:solidFill>
              </a:rPr>
              <a:t>b</a:t>
            </a:r>
            <a:r>
              <a:rPr lang="en-US" sz="3000" dirty="0">
                <a:solidFill>
                  <a:schemeClr val="bg2"/>
                </a:solidFill>
              </a:rPr>
              <a:t>: A parameter (typically 0.75) controlling the effect of document length normalization. b=0 disables length normalization, while fully normalizes by document length.</a:t>
            </a:r>
          </a:p>
          <a:p>
            <a:endParaRPr lang="en-US" sz="3000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dirty="0"/>
              <a:t>Sample Data</a:t>
            </a:r>
            <a:endParaRPr dirty="0"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109439-6887-98AE-3704-BA025A100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726" y="-170777"/>
            <a:ext cx="9720000" cy="1098000"/>
          </a:xfrm>
        </p:spPr>
        <p:txBody>
          <a:bodyPr/>
          <a:lstStyle/>
          <a:p>
            <a:r>
              <a:rPr lang="en-US" dirty="0"/>
              <a:t>First Screen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DA1F64-B69F-31BD-F59C-9B9C72220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7848" y="789756"/>
            <a:ext cx="10394302" cy="527848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06E0C25-9458-5634-9BD6-8644852FE260}"/>
              </a:ext>
            </a:extLst>
          </p:cNvPr>
          <p:cNvSpPr/>
          <p:nvPr/>
        </p:nvSpPr>
        <p:spPr>
          <a:xfrm>
            <a:off x="1105158" y="5859142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FileTyp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45CC15-7EA6-FFD1-B04C-6365D8A4BD79}"/>
              </a:ext>
            </a:extLst>
          </p:cNvPr>
          <p:cNvSpPr/>
          <p:nvPr/>
        </p:nvSpPr>
        <p:spPr>
          <a:xfrm>
            <a:off x="8112280" y="207446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Setting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C4F266-5894-CE98-FEEC-AE21BCDD1C8C}"/>
              </a:ext>
            </a:extLst>
          </p:cNvPr>
          <p:cNvSpPr/>
          <p:nvPr/>
        </p:nvSpPr>
        <p:spPr>
          <a:xfrm>
            <a:off x="3444270" y="2862808"/>
            <a:ext cx="141373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ObjectTyp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3A823E-3500-CBD7-1673-F49C1647A979}"/>
              </a:ext>
            </a:extLst>
          </p:cNvPr>
          <p:cNvSpPr/>
          <p:nvPr/>
        </p:nvSpPr>
        <p:spPr>
          <a:xfrm>
            <a:off x="2896555" y="1641185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7AEE36-AF37-CA01-6E7F-6A3DA26A95DC}"/>
              </a:ext>
            </a:extLst>
          </p:cNvPr>
          <p:cNvSpPr/>
          <p:nvPr/>
        </p:nvSpPr>
        <p:spPr>
          <a:xfrm>
            <a:off x="2373085" y="1018390"/>
            <a:ext cx="1726967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ActionRecent</a:t>
            </a:r>
            <a:r>
              <a:rPr lang="en-US" dirty="0">
                <a:solidFill>
                  <a:schemeClr val="bg1"/>
                </a:solidFill>
              </a:rPr>
              <a:t> 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2B503D4-7A6F-6362-0BF1-E81D1ACC1FBF}"/>
              </a:ext>
            </a:extLst>
          </p:cNvPr>
          <p:cNvSpPr/>
          <p:nvPr/>
        </p:nvSpPr>
        <p:spPr>
          <a:xfrm>
            <a:off x="3225865" y="5897467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UserFile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FF7840-A688-944C-1128-51D7A77EAD57}"/>
              </a:ext>
            </a:extLst>
          </p:cNvPr>
          <p:cNvSpPr/>
          <p:nvPr/>
        </p:nvSpPr>
        <p:spPr>
          <a:xfrm>
            <a:off x="9394522" y="1204132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Account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635A361-15B2-F61C-6C6E-BD09340B37AD}"/>
              </a:ext>
            </a:extLst>
          </p:cNvPr>
          <p:cNvCxnSpPr/>
          <p:nvPr/>
        </p:nvCxnSpPr>
        <p:spPr>
          <a:xfrm flipV="1">
            <a:off x="1892469" y="5067985"/>
            <a:ext cx="534620" cy="77723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F0F02C1-FF60-F0CE-90F4-46827AEBBCC7}"/>
              </a:ext>
            </a:extLst>
          </p:cNvPr>
          <p:cNvCxnSpPr/>
          <p:nvPr/>
        </p:nvCxnSpPr>
        <p:spPr>
          <a:xfrm flipV="1">
            <a:off x="10489951" y="1018390"/>
            <a:ext cx="512346" cy="3565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FFB96D4-D52C-A654-FBD8-6E820853D4FE}"/>
              </a:ext>
            </a:extLst>
          </p:cNvPr>
          <p:cNvCxnSpPr/>
          <p:nvPr/>
        </p:nvCxnSpPr>
        <p:spPr>
          <a:xfrm>
            <a:off x="3618271" y="1982738"/>
            <a:ext cx="806245" cy="39666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EDEB7E7-77CA-3F59-EADB-F648B35D1BE8}"/>
              </a:ext>
            </a:extLst>
          </p:cNvPr>
          <p:cNvCxnSpPr/>
          <p:nvPr/>
        </p:nvCxnSpPr>
        <p:spPr>
          <a:xfrm flipV="1">
            <a:off x="3618271" y="4519694"/>
            <a:ext cx="481781" cy="137777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EC7E8BD-E7D7-C867-DED2-7AA24D704229}"/>
              </a:ext>
            </a:extLst>
          </p:cNvPr>
          <p:cNvCxnSpPr/>
          <p:nvPr/>
        </p:nvCxnSpPr>
        <p:spPr>
          <a:xfrm flipV="1">
            <a:off x="4858009" y="2753032"/>
            <a:ext cx="1002017" cy="18681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C10F4A5-8C8A-2B06-4930-0D776598AF39}"/>
              </a:ext>
            </a:extLst>
          </p:cNvPr>
          <p:cNvCxnSpPr/>
          <p:nvPr/>
        </p:nvCxnSpPr>
        <p:spPr>
          <a:xfrm>
            <a:off x="4858009" y="3126658"/>
            <a:ext cx="312717" cy="58010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D4CF437-2877-15A2-5896-8EE57B97DA2D}"/>
              </a:ext>
            </a:extLst>
          </p:cNvPr>
          <p:cNvCxnSpPr/>
          <p:nvPr/>
        </p:nvCxnSpPr>
        <p:spPr>
          <a:xfrm>
            <a:off x="9285299" y="533760"/>
            <a:ext cx="1204652" cy="30824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A29ABC6-DFA8-D6A9-CBF8-63556C48A8EF}"/>
              </a:ext>
            </a:extLst>
          </p:cNvPr>
          <p:cNvCxnSpPr/>
          <p:nvPr/>
        </p:nvCxnSpPr>
        <p:spPr>
          <a:xfrm flipH="1">
            <a:off x="1553497" y="1374908"/>
            <a:ext cx="914400" cy="107332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490F921E-8CB4-B838-C6ED-703681D5AD34}"/>
              </a:ext>
            </a:extLst>
          </p:cNvPr>
          <p:cNvSpPr/>
          <p:nvPr/>
        </p:nvSpPr>
        <p:spPr>
          <a:xfrm>
            <a:off x="57074" y="4045690"/>
            <a:ext cx="1876203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vi-VN" dirty="0"/>
              <a:t>E </a:t>
            </a:r>
            <a:r>
              <a:rPr lang="vi-VN" dirty="0" err="1"/>
              <a:t>FavoriteObject</a:t>
            </a:r>
            <a:r>
              <a:rPr lang="vi-VN" dirty="0"/>
              <a:t> </a:t>
            </a:r>
          </a:p>
          <a:p>
            <a:pPr algn="ctr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0A19E20-300C-3984-9C5F-5205743C9BB6}"/>
              </a:ext>
            </a:extLst>
          </p:cNvPr>
          <p:cNvCxnSpPr/>
          <p:nvPr/>
        </p:nvCxnSpPr>
        <p:spPr>
          <a:xfrm flipV="1">
            <a:off x="310726" y="2684206"/>
            <a:ext cx="839648" cy="136148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A0D8D686-B75E-8108-A629-2E48D0496EC4}"/>
              </a:ext>
            </a:extLst>
          </p:cNvPr>
          <p:cNvSpPr/>
          <p:nvPr/>
        </p:nvSpPr>
        <p:spPr>
          <a:xfrm>
            <a:off x="1649245" y="593152"/>
            <a:ext cx="1576620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SharedUs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20022F9-347D-9A2F-A5B3-6B666D5742F4}"/>
              </a:ext>
            </a:extLst>
          </p:cNvPr>
          <p:cNvSpPr/>
          <p:nvPr/>
        </p:nvSpPr>
        <p:spPr>
          <a:xfrm>
            <a:off x="1247440" y="4682020"/>
            <a:ext cx="1095429" cy="3415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Trash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22124FD-7847-0DFE-F9B7-7E13ED81FE8E}"/>
              </a:ext>
            </a:extLst>
          </p:cNvPr>
          <p:cNvCxnSpPr>
            <a:cxnSpLocks/>
          </p:cNvCxnSpPr>
          <p:nvPr/>
        </p:nvCxnSpPr>
        <p:spPr>
          <a:xfrm flipH="1" flipV="1">
            <a:off x="1592389" y="3126658"/>
            <a:ext cx="465762" cy="15013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B1AD2F79-D4A8-B380-F506-50BC8BA88033}"/>
              </a:ext>
            </a:extLst>
          </p:cNvPr>
          <p:cNvCxnSpPr/>
          <p:nvPr/>
        </p:nvCxnSpPr>
        <p:spPr>
          <a:xfrm flipH="1">
            <a:off x="1327355" y="934705"/>
            <a:ext cx="873232" cy="126923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DDDDEBE2-82C6-C236-D608-EA8A6DF751C7}"/>
              </a:ext>
            </a:extLst>
          </p:cNvPr>
          <p:cNvSpPr/>
          <p:nvPr/>
        </p:nvSpPr>
        <p:spPr>
          <a:xfrm>
            <a:off x="8906729" y="1766837"/>
            <a:ext cx="1957916" cy="442045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 err="1">
                <a:solidFill>
                  <a:schemeClr val="bg1"/>
                </a:solidFill>
              </a:rPr>
              <a:t>UserViewSetting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14854B9-7B8A-4EFF-A16F-BFB69B1EE819}"/>
              </a:ext>
            </a:extLst>
          </p:cNvPr>
          <p:cNvSpPr/>
          <p:nvPr/>
        </p:nvSpPr>
        <p:spPr>
          <a:xfrm>
            <a:off x="310726" y="5208580"/>
            <a:ext cx="1622551" cy="379953"/>
          </a:xfrm>
          <a:prstGeom prst="rect">
            <a:avLst/>
          </a:prstGeom>
          <a:solidFill>
            <a:srgbClr val="33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User Capacity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26C76100-F0B5-0A8C-4ED6-C951D2BDE3AE}"/>
              </a:ext>
            </a:extLst>
          </p:cNvPr>
          <p:cNvCxnSpPr/>
          <p:nvPr/>
        </p:nvCxnSpPr>
        <p:spPr>
          <a:xfrm flipV="1">
            <a:off x="446049" y="3364948"/>
            <a:ext cx="881306" cy="184363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873326"/>
      </p:ext>
    </p:extLst>
  </p:cSld>
  <p:clrMapOvr>
    <a:masterClrMapping/>
  </p:clrMapOvr>
  <p:transition spd="slow">
    <p:push dir="u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22272B6-7E7A-589C-283F-FC82991F1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944F9D-3361-8A27-383E-5F3535EBD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98" y="1112406"/>
            <a:ext cx="10851604" cy="510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6328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7AA25AE-9DD3-A8D2-6D9F-7E43C4DC2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Data 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D674D4-EB38-8DC1-5BDD-406795FF75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018" y="903249"/>
            <a:ext cx="11745964" cy="552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6294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FF4939C-AA73-BD16-296A-A120BDF53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tructure </a:t>
            </a:r>
            <a:endParaRPr lang="vi-V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080241-635B-A43B-737C-15CDF60F41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072" y="811553"/>
            <a:ext cx="9720000" cy="580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16891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131E732-4B9B-8501-B4BB-C26D3432C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drive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1DB79C-CC3F-1491-33BC-32D87EE53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107" y="970254"/>
            <a:ext cx="10761785" cy="567117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4D5DBE0-7676-37E2-EA47-8C08CA597672}"/>
              </a:ext>
            </a:extLst>
          </p:cNvPr>
          <p:cNvSpPr/>
          <p:nvPr/>
        </p:nvSpPr>
        <p:spPr>
          <a:xfrm>
            <a:off x="5362338" y="273508"/>
            <a:ext cx="2625969" cy="550984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lect File/folder where user login is owne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8A74189-62FF-3532-28E1-AE514D16C014}"/>
              </a:ext>
            </a:extLst>
          </p:cNvPr>
          <p:cNvCxnSpPr/>
          <p:nvPr/>
        </p:nvCxnSpPr>
        <p:spPr>
          <a:xfrm flipH="1">
            <a:off x="4970585" y="832338"/>
            <a:ext cx="562707" cy="1992924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ame 12">
            <a:extLst>
              <a:ext uri="{FF2B5EF4-FFF2-40B4-BE49-F238E27FC236}">
                <a16:creationId xmlns:a16="http://schemas.microsoft.com/office/drawing/2014/main" id="{608A03F9-6FF8-16B7-5FAB-FE9EC4E34816}"/>
              </a:ext>
            </a:extLst>
          </p:cNvPr>
          <p:cNvSpPr/>
          <p:nvPr/>
        </p:nvSpPr>
        <p:spPr>
          <a:xfrm>
            <a:off x="2341756" y="2230245"/>
            <a:ext cx="9222059" cy="602864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4" name="Frame 13">
            <a:extLst>
              <a:ext uri="{FF2B5EF4-FFF2-40B4-BE49-F238E27FC236}">
                <a16:creationId xmlns:a16="http://schemas.microsoft.com/office/drawing/2014/main" id="{6AB874E8-265E-69B6-F587-2BE77CA8BF34}"/>
              </a:ext>
            </a:extLst>
          </p:cNvPr>
          <p:cNvSpPr/>
          <p:nvPr/>
        </p:nvSpPr>
        <p:spPr>
          <a:xfrm>
            <a:off x="2341756" y="3278459"/>
            <a:ext cx="9222059" cy="517057"/>
          </a:xfrm>
          <a:prstGeom prst="fram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61F9B9-AA35-08FA-E371-515FF6607D85}"/>
              </a:ext>
            </a:extLst>
          </p:cNvPr>
          <p:cNvSpPr/>
          <p:nvPr/>
        </p:nvSpPr>
        <p:spPr>
          <a:xfrm>
            <a:off x="6010507" y="1371600"/>
            <a:ext cx="1193181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olde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F91C7E3-DDDD-E6EF-5956-43F0A01833D6}"/>
              </a:ext>
            </a:extLst>
          </p:cNvPr>
          <p:cNvSpPr/>
          <p:nvPr/>
        </p:nvSpPr>
        <p:spPr>
          <a:xfrm>
            <a:off x="8162121" y="1298506"/>
            <a:ext cx="929269" cy="42314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Get fil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F56EB60-852C-DA01-EB50-4EC675D7CD16}"/>
              </a:ext>
            </a:extLst>
          </p:cNvPr>
          <p:cNvCxnSpPr/>
          <p:nvPr/>
        </p:nvCxnSpPr>
        <p:spPr>
          <a:xfrm flipH="1">
            <a:off x="6095999" y="1828800"/>
            <a:ext cx="282499" cy="401445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4233713-053F-067D-6053-121560520D4D}"/>
              </a:ext>
            </a:extLst>
          </p:cNvPr>
          <p:cNvCxnSpPr/>
          <p:nvPr/>
        </p:nvCxnSpPr>
        <p:spPr>
          <a:xfrm flipH="1">
            <a:off x="7988307" y="1721652"/>
            <a:ext cx="341654" cy="1478748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717019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D0496E-96D9-C8F6-C463-3E957282B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comment</a:t>
            </a:r>
            <a:r>
              <a:rPr lang="en-US" dirty="0"/>
              <a:t> file/folder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994B5F-166E-3BB4-4E42-D1EEBD2AE4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343" y="982064"/>
            <a:ext cx="10211314" cy="58759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EE134-F2C8-A0CA-44F1-22B3594D82A2}"/>
              </a:ext>
            </a:extLst>
          </p:cNvPr>
          <p:cNvCxnSpPr/>
          <p:nvPr/>
        </p:nvCxnSpPr>
        <p:spPr>
          <a:xfrm>
            <a:off x="1081668" y="2531327"/>
            <a:ext cx="114857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4ABBBE-DCFE-2977-BE2F-2C2638811144}"/>
              </a:ext>
            </a:extLst>
          </p:cNvPr>
          <p:cNvCxnSpPr/>
          <p:nvPr/>
        </p:nvCxnSpPr>
        <p:spPr>
          <a:xfrm>
            <a:off x="1159727" y="3429000"/>
            <a:ext cx="88027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EF501D2-AEEB-39F0-149B-DB3FA9DB9EA3}"/>
              </a:ext>
            </a:extLst>
          </p:cNvPr>
          <p:cNvCxnSpPr>
            <a:cxnSpLocks/>
          </p:cNvCxnSpPr>
          <p:nvPr/>
        </p:nvCxnSpPr>
        <p:spPr>
          <a:xfrm flipH="1">
            <a:off x="1449659" y="780585"/>
            <a:ext cx="223024" cy="129354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69370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09F1EDD-32B4-DED3-79B2-DB70B5E7D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</a:t>
            </a:r>
            <a:endParaRPr lang="vi-V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449B85-42DF-4A0D-A8CA-1AA07F52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9505" y="1031474"/>
            <a:ext cx="6792990" cy="479505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14:cNvPr>
              <p14:cNvContentPartPr/>
              <p14:nvPr/>
            </p14:nvContentPartPr>
            <p14:xfrm>
              <a:off x="-1072103" y="2821773"/>
              <a:ext cx="360" cy="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ED92F943-DF67-E764-FB61-4B005E1E3D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078223" y="2815653"/>
                <a:ext cx="12600" cy="126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Frame 9">
            <a:extLst>
              <a:ext uri="{FF2B5EF4-FFF2-40B4-BE49-F238E27FC236}">
                <a16:creationId xmlns:a16="http://schemas.microsoft.com/office/drawing/2014/main" id="{41DB58E0-91C1-D534-444D-79057C0C357C}"/>
              </a:ext>
            </a:extLst>
          </p:cNvPr>
          <p:cNvSpPr/>
          <p:nvPr/>
        </p:nvSpPr>
        <p:spPr>
          <a:xfrm>
            <a:off x="4375355" y="2172929"/>
            <a:ext cx="3313471" cy="530942"/>
          </a:xfrm>
          <a:prstGeom prst="frame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1" name="Frame 10">
            <a:extLst>
              <a:ext uri="{FF2B5EF4-FFF2-40B4-BE49-F238E27FC236}">
                <a16:creationId xmlns:a16="http://schemas.microsoft.com/office/drawing/2014/main" id="{C0A718B5-F1B3-3855-26E0-602EDB023B4C}"/>
              </a:ext>
            </a:extLst>
          </p:cNvPr>
          <p:cNvSpPr/>
          <p:nvPr/>
        </p:nvSpPr>
        <p:spPr>
          <a:xfrm>
            <a:off x="4542503" y="4336026"/>
            <a:ext cx="3028336" cy="530942"/>
          </a:xfrm>
          <a:prstGeom prst="frame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76B6F7-466E-54FA-EE18-409DA4C02C08}"/>
              </a:ext>
            </a:extLst>
          </p:cNvPr>
          <p:cNvSpPr/>
          <p:nvPr/>
        </p:nvSpPr>
        <p:spPr>
          <a:xfrm>
            <a:off x="2040001" y="3055649"/>
            <a:ext cx="1622323" cy="462116"/>
          </a:xfrm>
          <a:prstGeom prst="rect">
            <a:avLst/>
          </a:prstGeom>
          <a:solidFill>
            <a:srgbClr val="005194"/>
          </a:solidFill>
          <a:ln>
            <a:solidFill>
              <a:srgbClr val="0051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Avatar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FE4099-99B4-EEC6-0198-8B261635AA08}"/>
              </a:ext>
            </a:extLst>
          </p:cNvPr>
          <p:cNvSpPr/>
          <p:nvPr/>
        </p:nvSpPr>
        <p:spPr>
          <a:xfrm>
            <a:off x="5220928" y="606388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Email</a:t>
            </a:r>
            <a:endParaRPr lang="vi-VN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9E9687-7A4C-113E-6D04-8EEC903F0C7E}"/>
              </a:ext>
            </a:extLst>
          </p:cNvPr>
          <p:cNvSpPr/>
          <p:nvPr/>
        </p:nvSpPr>
        <p:spPr>
          <a:xfrm>
            <a:off x="7870172" y="2822133"/>
            <a:ext cx="1622323" cy="462116"/>
          </a:xfrm>
          <a:prstGeom prst="rect">
            <a:avLst/>
          </a:prstGeom>
          <a:solidFill>
            <a:srgbClr val="005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 err="1"/>
              <a:t>UserName</a:t>
            </a:r>
            <a:endParaRPr lang="vi-VN" dirty="0" err="1">
              <a:solidFill>
                <a:schemeClr val="bg1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D8F58FF-F70B-800C-3006-8CB6A3E34F38}"/>
              </a:ext>
            </a:extLst>
          </p:cNvPr>
          <p:cNvCxnSpPr/>
          <p:nvPr/>
        </p:nvCxnSpPr>
        <p:spPr>
          <a:xfrm>
            <a:off x="3662324" y="3284249"/>
            <a:ext cx="1627431" cy="1447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555831F-2DAA-BE58-F365-127B1661710C}"/>
              </a:ext>
            </a:extLst>
          </p:cNvPr>
          <p:cNvCxnSpPr>
            <a:stCxn id="16" idx="1"/>
          </p:cNvCxnSpPr>
          <p:nvPr/>
        </p:nvCxnSpPr>
        <p:spPr>
          <a:xfrm flipH="1">
            <a:off x="4994787" y="837446"/>
            <a:ext cx="226141" cy="1335483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45C3381-4F98-6094-CEBD-D11C0FBD5E38}"/>
              </a:ext>
            </a:extLst>
          </p:cNvPr>
          <p:cNvCxnSpPr/>
          <p:nvPr/>
        </p:nvCxnSpPr>
        <p:spPr>
          <a:xfrm flipH="1">
            <a:off x="7295535" y="3055649"/>
            <a:ext cx="574637" cy="1211551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080990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l" rtl="0">
          <a:spcAft>
            <a:spcPts val="6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285750" indent="-285750" algn="l" rtl="0">
          <a:lnSpc>
            <a:spcPct val="120000"/>
          </a:lnSpc>
          <a:spcAft>
            <a:spcPts val="600"/>
          </a:spcAft>
          <a:buClr>
            <a:schemeClr val="tx1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Custom Color 1">
      <a:srgbClr val="005194"/>
    </a:custClr>
    <a:custClr name="Custom Color 2">
      <a:srgbClr val="3374A9"/>
    </a:custClr>
    <a:custClr name="Custom Color 3">
      <a:srgbClr val="6697BF"/>
    </a:custClr>
    <a:custClr name="Custom Color 4">
      <a:srgbClr val="99B9D4"/>
    </a:custClr>
    <a:custClr name="BLANK">
      <a:srgbClr val="FFFFFF"/>
    </a:custClr>
    <a:custClr name="BLANK">
      <a:srgbClr val="FFFFFF"/>
    </a:custClr>
    <a:custClr name="Custom Color 7">
      <a:srgbClr val="F39800"/>
    </a:custClr>
    <a:custClr name="Custom Color 8">
      <a:srgbClr val="F5AD33"/>
    </a:custClr>
    <a:custClr name="Custom Color 9">
      <a:srgbClr val="F8C166"/>
    </a:custClr>
    <a:custClr name="Custom Color 10">
      <a:srgbClr val="FAD699"/>
    </a:custClr>
    <a:custClr name="Custom Color 11">
      <a:srgbClr val="005D39"/>
    </a:custClr>
    <a:custClr name="Custom Color 12">
      <a:srgbClr val="337D61"/>
    </a:custClr>
    <a:custClr name="Custom Color 13">
      <a:srgbClr val="669E88"/>
    </a:custClr>
    <a:custClr name="Custom Color 14">
      <a:srgbClr val="99BEB0"/>
    </a:custClr>
    <a:custClr name="BLANK">
      <a:srgbClr val="FFFFFF"/>
    </a:custClr>
    <a:custClr name="BLANK">
      <a:srgbClr val="FFFFFF"/>
    </a:custClr>
    <a:custClr name="Custom Color 17">
      <a:srgbClr val="5C154F"/>
    </a:custClr>
    <a:custClr name="Custom Color 18">
      <a:srgbClr val="7D4472"/>
    </a:custClr>
    <a:custClr name="Custom Color 19">
      <a:srgbClr val="9D7395"/>
    </a:custClr>
    <a:custClr name="Custom Color 20">
      <a:srgbClr val="BEA1B9"/>
    </a:custClr>
  </a:custClrLst>
  <a:extLst>
    <a:ext uri="{05A4C25C-085E-4340-85A3-A5531E510DB2}">
      <thm15:themeFamily xmlns:thm15="http://schemas.microsoft.com/office/thememl/2012/main" name="bbv Template EN.potx" id="{62510A1F-2EA7-4EA2-AAB4-F1C7937D1124}" vid="{EAF1E2DA-C1F8-46A6-B21C-C2C8E7E0A1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ECA5C03B5B3648A59C327F9B592BCA" ma:contentTypeVersion="18" ma:contentTypeDescription="Create a new document." ma:contentTypeScope="" ma:versionID="6c18a499376fe99d18d064f593f17266">
  <xsd:schema xmlns:xsd="http://www.w3.org/2001/XMLSchema" xmlns:xs="http://www.w3.org/2001/XMLSchema" xmlns:p="http://schemas.microsoft.com/office/2006/metadata/properties" xmlns:ns2="ab110e31-9a28-463c-b599-9105678ef09e" xmlns:ns3="b416dfb7-f3da-461d-9305-4b76a01efcc1" targetNamespace="http://schemas.microsoft.com/office/2006/metadata/properties" ma:root="true" ma:fieldsID="c0ea90f0bc4730787fb2734bd82545d6" ns2:_="" ns3:_="">
    <xsd:import namespace="ab110e31-9a28-463c-b599-9105678ef09e"/>
    <xsd:import namespace="b416dfb7-f3da-461d-9305-4b76a01efc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10e31-9a28-463c-b599-9105678ef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ac9124cb-9502-46c0-8e39-0e7eaae655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6dfb7-f3da-461d-9305-4b76a01efcc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b86b37b-a08c-44d0-9ed8-25de7933685a}" ma:internalName="TaxCatchAll" ma:showField="CatchAllData" ma:web="b416dfb7-f3da-461d-9305-4b76a01efc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C702D9-9E55-4D09-9269-3B464CFDB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110e31-9a28-463c-b599-9105678ef09e"/>
    <ds:schemaRef ds:uri="b416dfb7-f3da-461d-9305-4b76a01ef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3CB484D-016C-43DE-886B-249507DD65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bv template EN</Template>
  <TotalTime>837</TotalTime>
  <Words>1894</Words>
  <Application>Microsoft Office PowerPoint</Application>
  <PresentationFormat>Widescreen</PresentationFormat>
  <Paragraphs>390</Paragraphs>
  <Slides>42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alibri</vt:lpstr>
      <vt:lpstr>bbv template EN</vt:lpstr>
      <vt:lpstr>think-cell Slide</vt:lpstr>
      <vt:lpstr>PowerPoint Presentation</vt:lpstr>
      <vt:lpstr>Ypp 4</vt:lpstr>
      <vt:lpstr>Agenda</vt:lpstr>
      <vt:lpstr>First Screen </vt:lpstr>
      <vt:lpstr>Sample Data </vt:lpstr>
      <vt:lpstr>Data Structure </vt:lpstr>
      <vt:lpstr>My drive</vt:lpstr>
      <vt:lpstr>Recomment file/folder</vt:lpstr>
      <vt:lpstr>Account</vt:lpstr>
      <vt:lpstr>Setting</vt:lpstr>
      <vt:lpstr>Data Structure</vt:lpstr>
      <vt:lpstr>Setting Sample Data</vt:lpstr>
      <vt:lpstr>FavoriteObject</vt:lpstr>
      <vt:lpstr>Sample Data FavoriteObject</vt:lpstr>
      <vt:lpstr>Recent action</vt:lpstr>
      <vt:lpstr>Sample Data ActionRecent</vt:lpstr>
      <vt:lpstr>Share for login user </vt:lpstr>
      <vt:lpstr>Share</vt:lpstr>
      <vt:lpstr>Data Structure</vt:lpstr>
      <vt:lpstr>Sample Data Share</vt:lpstr>
      <vt:lpstr>Trash </vt:lpstr>
      <vt:lpstr>Data Structure</vt:lpstr>
      <vt:lpstr>Sample Data Trash</vt:lpstr>
      <vt:lpstr>UserCapacity</vt:lpstr>
      <vt:lpstr>UserProduct</vt:lpstr>
      <vt:lpstr>Data Structure</vt:lpstr>
      <vt:lpstr>Sample Data Product</vt:lpstr>
      <vt:lpstr>Banned</vt:lpstr>
      <vt:lpstr>Sample Data Banned</vt:lpstr>
      <vt:lpstr>Resolve permission problem in Google Drive</vt:lpstr>
      <vt:lpstr>Add column path to table folder</vt:lpstr>
      <vt:lpstr>Sample Data Share</vt:lpstr>
      <vt:lpstr>WHAT IS BM25 ?</vt:lpstr>
      <vt:lpstr>PowerPoint Presentation</vt:lpstr>
      <vt:lpstr>PowerPoint Presentation</vt:lpstr>
      <vt:lpstr>PowerPoint Presentation</vt:lpstr>
      <vt:lpstr>HOW IT WORKS ? </vt:lpstr>
      <vt:lpstr>Sample Data</vt:lpstr>
      <vt:lpstr>Caculate IDF ( InverseIndexFrequency) </vt:lpstr>
      <vt:lpstr>TF (TermFrequency)</vt:lpstr>
      <vt:lpstr>Total Score</vt:lpstr>
      <vt:lpstr>Data Stru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o Trong Vo</dc:creator>
  <cp:lastModifiedBy>Khiem Bui Duc</cp:lastModifiedBy>
  <cp:revision>11</cp:revision>
  <dcterms:created xsi:type="dcterms:W3CDTF">2025-07-10T03:51:23Z</dcterms:created>
  <dcterms:modified xsi:type="dcterms:W3CDTF">2025-08-09T08:22:44Z</dcterms:modified>
</cp:coreProperties>
</file>